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5.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6.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7.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9.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4"/>
    <p:sldMasterId id="2147484287" r:id="rId5"/>
    <p:sldMasterId id="2147484296" r:id="rId6"/>
    <p:sldMasterId id="2147484541" r:id="rId7"/>
    <p:sldMasterId id="2147484552" r:id="rId8"/>
    <p:sldMasterId id="2147485162" r:id="rId9"/>
    <p:sldMasterId id="2147485260" r:id="rId10"/>
    <p:sldMasterId id="2147485295" r:id="rId11"/>
    <p:sldMasterId id="2147485330" r:id="rId12"/>
    <p:sldMasterId id="2147485348" r:id="rId13"/>
  </p:sldMasterIdLst>
  <p:notesMasterIdLst>
    <p:notesMasterId r:id="rId26"/>
  </p:notesMasterIdLst>
  <p:handoutMasterIdLst>
    <p:handoutMasterId r:id="rId27"/>
  </p:handoutMasterIdLst>
  <p:sldIdLst>
    <p:sldId id="2103813152" r:id="rId14"/>
    <p:sldId id="2103813171" r:id="rId15"/>
    <p:sldId id="2103813172" r:id="rId16"/>
    <p:sldId id="2103813162" r:id="rId17"/>
    <p:sldId id="2103813175" r:id="rId18"/>
    <p:sldId id="2103813176" r:id="rId19"/>
    <p:sldId id="2076137263" r:id="rId20"/>
    <p:sldId id="4794" r:id="rId21"/>
    <p:sldId id="2076137267" r:id="rId22"/>
    <p:sldId id="2076137277" r:id="rId23"/>
    <p:sldId id="2076137562" r:id="rId24"/>
    <p:sldId id="2076137348"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L and AI" id="{8C3E4D25-02A7-4DAE-BE1F-569483D38B81}">
          <p14:sldIdLst>
            <p14:sldId id="2103813152"/>
            <p14:sldId id="2103813171"/>
            <p14:sldId id="2103813172"/>
            <p14:sldId id="2103813162"/>
            <p14:sldId id="2103813175"/>
            <p14:sldId id="2103813176"/>
            <p14:sldId id="2076137263"/>
            <p14:sldId id="4794"/>
            <p14:sldId id="2076137267"/>
            <p14:sldId id="2076137277"/>
            <p14:sldId id="2076137562"/>
            <p14:sldId id="207613734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0F22C1F-164F-93E1-BAAF-AA8CED6709E1}" name="Jane Gao" initials="JG" userId="S::janegao@microsoft.com::68f086f3-803f-4576-b9c0-e0d97bd88443" providerId="AD"/>
  <p188:author id="{23A4D96C-8AC2-CD16-F154-BF252B025899}" name="Maddy Butzbach" initials="MB" userId="S::mabutzba@microsoft.com::fcf1f059-f8a3-4fa0-904d-e446b49b1575" providerId="AD"/>
  <p188:author id="{7C68A98F-BDFD-8AFE-8D4A-B3FD353DA491}" name="Vijay Kumar" initials="VK" userId="S::vijkumar@microsoft.com::b31c8e42-dd95-4f60-9f80-f0c155cb71f2" providerId="AD"/>
  <p188:author id="{ECDA2EA9-6879-0373-7163-19369AB38C47}" name="Andrew Zeller" initials="AZ" userId="S::azeller@microsoft.com::e8aa0d0e-239a-4339-88a5-d8449525af2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ddy Butzbach" initials="MB" lastIdx="8" clrIdx="0">
    <p:extLst>
      <p:ext uri="{19B8F6BF-5375-455C-9EA6-DF929625EA0E}">
        <p15:presenceInfo xmlns:p15="http://schemas.microsoft.com/office/powerpoint/2012/main" userId="S::mabutzba@microsoft.com::fcf1f059-f8a3-4fa0-904d-e446b49b1575" providerId="AD"/>
      </p:ext>
    </p:extLst>
  </p:cmAuthor>
  <p:cmAuthor id="2" name="Susan Blanchard" initials="SB" lastIdx="1" clrIdx="1">
    <p:extLst>
      <p:ext uri="{19B8F6BF-5375-455C-9EA6-DF929625EA0E}">
        <p15:presenceInfo xmlns:p15="http://schemas.microsoft.com/office/powerpoint/2012/main" userId="Susan Blanchard" providerId="None"/>
      </p:ext>
    </p:extLst>
  </p:cmAuthor>
  <p:cmAuthor id="3" name="Kaiser Larsen" initials="KL" lastIdx="1" clrIdx="2">
    <p:extLst>
      <p:ext uri="{19B8F6BF-5375-455C-9EA6-DF929625EA0E}">
        <p15:presenceInfo xmlns:p15="http://schemas.microsoft.com/office/powerpoint/2012/main" userId="S::kalarse@microsoft.com::8275e704-f1f8-4fe1-a9ff-7bd738bf64dc" providerId="AD"/>
      </p:ext>
    </p:extLst>
  </p:cmAuthor>
  <p:cmAuthor id="4" name="Nikisha Reyes-Grange" initials="NR" lastIdx="1" clrIdx="3">
    <p:extLst>
      <p:ext uri="{19B8F6BF-5375-455C-9EA6-DF929625EA0E}">
        <p15:presenceInfo xmlns:p15="http://schemas.microsoft.com/office/powerpoint/2012/main" userId="S::nrg@microsoft.com::0b7a1191-38f2-4dc9-b209-2305d682cb5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FAFF"/>
    <a:srgbClr val="00AFF4"/>
    <a:srgbClr val="0072B1"/>
    <a:srgbClr val="4FE4FF"/>
    <a:srgbClr val="FED142"/>
    <a:srgbClr val="3571A3"/>
    <a:srgbClr val="000000"/>
    <a:srgbClr val="0078D4"/>
    <a:srgbClr val="E81123"/>
    <a:srgbClr val="A8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11" autoAdjust="0"/>
    <p:restoredTop sz="94660"/>
  </p:normalViewPr>
  <p:slideViewPr>
    <p:cSldViewPr snapToGrid="0">
      <p:cViewPr varScale="1">
        <p:scale>
          <a:sx n="90" d="100"/>
          <a:sy n="90" d="100"/>
        </p:scale>
        <p:origin x="29" y="99"/>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8.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commentAuthors" Target="commentAuthors.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handoutMaster" Target="handoutMasters/handoutMaster1.xml"/><Relationship Id="rId30" Type="http://schemas.openxmlformats.org/officeDocument/2006/relationships/viewProps" Target="viewProps.xml"/><Relationship Id="rId8" Type="http://schemas.openxmlformats.org/officeDocument/2006/relationships/slideMaster" Target="slideMasters/slideMaster5.xml"/></Relationships>
</file>

<file path=ppt/diagrams/_rels/data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svg"/><Relationship Id="rId1" Type="http://schemas.openxmlformats.org/officeDocument/2006/relationships/image" Target="../media/image70.png"/><Relationship Id="rId6" Type="http://schemas.openxmlformats.org/officeDocument/2006/relationships/image" Target="../media/image75.svg"/><Relationship Id="rId5" Type="http://schemas.openxmlformats.org/officeDocument/2006/relationships/image" Target="../media/image74.png"/><Relationship Id="rId4" Type="http://schemas.openxmlformats.org/officeDocument/2006/relationships/image" Target="../media/image73.svg"/></Relationships>
</file>

<file path=ppt/diagrams/_rels/drawing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svg"/><Relationship Id="rId1" Type="http://schemas.openxmlformats.org/officeDocument/2006/relationships/image" Target="../media/image70.png"/><Relationship Id="rId6" Type="http://schemas.openxmlformats.org/officeDocument/2006/relationships/image" Target="../media/image75.svg"/><Relationship Id="rId5" Type="http://schemas.openxmlformats.org/officeDocument/2006/relationships/image" Target="../media/image74.png"/><Relationship Id="rId4" Type="http://schemas.openxmlformats.org/officeDocument/2006/relationships/image" Target="../media/image73.svg"/></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FF8F1E-FC5E-4D01-AAAE-97B6A4BB86B9}" type="doc">
      <dgm:prSet loTypeId="urn:microsoft.com/office/officeart/2018/2/layout/IconVerticalSolidList" loCatId="icon" qsTypeId="urn:microsoft.com/office/officeart/2005/8/quickstyle/simple1" qsCatId="simple" csTypeId="urn:microsoft.com/office/officeart/2005/8/colors/accent1_4" csCatId="accent1" phldr="1"/>
      <dgm:spPr/>
      <dgm:t>
        <a:bodyPr/>
        <a:lstStyle/>
        <a:p>
          <a:endParaRPr lang="en-US"/>
        </a:p>
      </dgm:t>
    </dgm:pt>
    <dgm:pt modelId="{E7182473-AF72-4614-ACA9-EDECE7922600}">
      <dgm:prSet/>
      <dgm:spPr/>
      <dgm:t>
        <a:bodyPr/>
        <a:lstStyle/>
        <a:p>
          <a:pPr>
            <a:lnSpc>
              <a:spcPct val="100000"/>
            </a:lnSpc>
          </a:pPr>
          <a:r>
            <a:rPr lang="en-US" dirty="0">
              <a:solidFill>
                <a:schemeClr val="bg1"/>
              </a:solidFill>
            </a:rPr>
            <a:t>Chief information officer Andre is responsible for making sure that all Customer data is ingested properly and is available for any other application or organization.</a:t>
          </a:r>
        </a:p>
      </dgm:t>
    </dgm:pt>
    <dgm:pt modelId="{6F4FCFB1-F266-4292-BB08-ED50C1F1787D}" type="parTrans" cxnId="{8689D1CD-9D7C-4CED-B686-D9A7956EADD5}">
      <dgm:prSet/>
      <dgm:spPr/>
      <dgm:t>
        <a:bodyPr/>
        <a:lstStyle/>
        <a:p>
          <a:endParaRPr lang="en-US"/>
        </a:p>
      </dgm:t>
    </dgm:pt>
    <dgm:pt modelId="{5C6DC509-9FC8-40CB-81DE-FDFB42858D48}" type="sibTrans" cxnId="{8689D1CD-9D7C-4CED-B686-D9A7956EADD5}">
      <dgm:prSet/>
      <dgm:spPr/>
      <dgm:t>
        <a:bodyPr/>
        <a:lstStyle/>
        <a:p>
          <a:endParaRPr lang="en-US"/>
        </a:p>
      </dgm:t>
    </dgm:pt>
    <dgm:pt modelId="{A16865B8-DA28-4469-B2B2-FC4C580DAE1D}">
      <dgm:prSet/>
      <dgm:spPr/>
      <dgm:t>
        <a:bodyPr/>
        <a:lstStyle/>
        <a:p>
          <a:pPr>
            <a:lnSpc>
              <a:spcPct val="100000"/>
            </a:lnSpc>
          </a:pPr>
          <a:r>
            <a:rPr lang="en-US" dirty="0">
              <a:solidFill>
                <a:schemeClr val="bg1"/>
              </a:solidFill>
            </a:rPr>
            <a:t>A large portion of information submitted by customers comes in either  handwritten or scanned forms. </a:t>
          </a:r>
          <a:r>
            <a:rPr lang="en-US" dirty="0" err="1">
              <a:solidFill>
                <a:schemeClr val="bg1"/>
              </a:solidFill>
            </a:rPr>
            <a:t>Woodgrove</a:t>
          </a:r>
          <a:r>
            <a:rPr lang="en-US" dirty="0">
              <a:solidFill>
                <a:schemeClr val="bg1"/>
              </a:solidFill>
            </a:rPr>
            <a:t> spends manual labor hours to scrape and digitize the data.</a:t>
          </a:r>
        </a:p>
      </dgm:t>
    </dgm:pt>
    <dgm:pt modelId="{04FC5550-CD44-4729-90C5-8E86041B2249}" type="parTrans" cxnId="{D59D2BF0-7E3B-427E-B3D1-749976BCAC58}">
      <dgm:prSet/>
      <dgm:spPr/>
      <dgm:t>
        <a:bodyPr/>
        <a:lstStyle/>
        <a:p>
          <a:endParaRPr lang="en-US"/>
        </a:p>
      </dgm:t>
    </dgm:pt>
    <dgm:pt modelId="{05BDBE4D-4947-45B6-AB47-49FFE3EE997C}" type="sibTrans" cxnId="{D59D2BF0-7E3B-427E-B3D1-749976BCAC58}">
      <dgm:prSet/>
      <dgm:spPr/>
      <dgm:t>
        <a:bodyPr/>
        <a:lstStyle/>
        <a:p>
          <a:endParaRPr lang="en-US"/>
        </a:p>
      </dgm:t>
    </dgm:pt>
    <dgm:pt modelId="{5B6516AF-0E4E-4B08-AB9D-ADB81329FCBA}">
      <dgm:prSet/>
      <dgm:spPr/>
      <dgm:t>
        <a:bodyPr/>
        <a:lstStyle/>
        <a:p>
          <a:pPr>
            <a:lnSpc>
              <a:spcPct val="100000"/>
            </a:lnSpc>
          </a:pPr>
          <a:r>
            <a:rPr lang="en-US" dirty="0">
              <a:solidFill>
                <a:schemeClr val="bg1"/>
              </a:solidFill>
            </a:rPr>
            <a:t>The manual process has slowed down the pace of business and adds significant cost. To enhance the customer experience and cut expenses Andre is looking to use Artificial intelligence and other Azure services to automate this process.</a:t>
          </a:r>
        </a:p>
      </dgm:t>
    </dgm:pt>
    <dgm:pt modelId="{CE07DC2D-1435-4038-8E5F-19A7E592BC3C}" type="parTrans" cxnId="{B7534996-EF5D-4D2A-8648-C28A880E6925}">
      <dgm:prSet/>
      <dgm:spPr/>
      <dgm:t>
        <a:bodyPr/>
        <a:lstStyle/>
        <a:p>
          <a:endParaRPr lang="en-US"/>
        </a:p>
      </dgm:t>
    </dgm:pt>
    <dgm:pt modelId="{B19794DA-1993-436F-A818-C727EB0548C8}" type="sibTrans" cxnId="{B7534996-EF5D-4D2A-8648-C28A880E6925}">
      <dgm:prSet/>
      <dgm:spPr/>
      <dgm:t>
        <a:bodyPr/>
        <a:lstStyle/>
        <a:p>
          <a:endParaRPr lang="en-US"/>
        </a:p>
      </dgm:t>
    </dgm:pt>
    <dgm:pt modelId="{F7A90F7B-CD22-4D7A-B525-B54A76A334B7}" type="pres">
      <dgm:prSet presAssocID="{AAFF8F1E-FC5E-4D01-AAAE-97B6A4BB86B9}" presName="root" presStyleCnt="0">
        <dgm:presLayoutVars>
          <dgm:dir/>
          <dgm:resizeHandles val="exact"/>
        </dgm:presLayoutVars>
      </dgm:prSet>
      <dgm:spPr/>
    </dgm:pt>
    <dgm:pt modelId="{D36E75AD-53AB-41E7-9085-64AFE320763F}" type="pres">
      <dgm:prSet presAssocID="{E7182473-AF72-4614-ACA9-EDECE7922600}" presName="compNode" presStyleCnt="0"/>
      <dgm:spPr/>
    </dgm:pt>
    <dgm:pt modelId="{7ADF99CB-B80D-4B57-95F6-BC822C7FA524}" type="pres">
      <dgm:prSet presAssocID="{E7182473-AF72-4614-ACA9-EDECE7922600}" presName="bgRect" presStyleLbl="bgShp" presStyleIdx="0" presStyleCnt="3"/>
      <dgm:spPr/>
    </dgm:pt>
    <dgm:pt modelId="{BF036A12-00E3-4752-A5DC-EF6B8E20AAD3}" type="pres">
      <dgm:prSet presAssocID="{E7182473-AF72-4614-ACA9-EDECE7922600}"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Captain"/>
        </a:ext>
      </dgm:extLst>
    </dgm:pt>
    <dgm:pt modelId="{469D750A-BF68-439B-A128-BA24BC4D25A7}" type="pres">
      <dgm:prSet presAssocID="{E7182473-AF72-4614-ACA9-EDECE7922600}" presName="spaceRect" presStyleCnt="0"/>
      <dgm:spPr/>
    </dgm:pt>
    <dgm:pt modelId="{E83B248A-3D8D-41D7-904C-4F8F54D55097}" type="pres">
      <dgm:prSet presAssocID="{E7182473-AF72-4614-ACA9-EDECE7922600}" presName="parTx" presStyleLbl="revTx" presStyleIdx="0" presStyleCnt="3">
        <dgm:presLayoutVars>
          <dgm:chMax val="0"/>
          <dgm:chPref val="0"/>
        </dgm:presLayoutVars>
      </dgm:prSet>
      <dgm:spPr/>
    </dgm:pt>
    <dgm:pt modelId="{48383FE2-1332-4E53-A0BE-8A203EE9DA69}" type="pres">
      <dgm:prSet presAssocID="{5C6DC509-9FC8-40CB-81DE-FDFB42858D48}" presName="sibTrans" presStyleCnt="0"/>
      <dgm:spPr/>
    </dgm:pt>
    <dgm:pt modelId="{44B543E5-3131-45BA-8254-4C5F5A7ED21A}" type="pres">
      <dgm:prSet presAssocID="{A16865B8-DA28-4469-B2B2-FC4C580DAE1D}" presName="compNode" presStyleCnt="0"/>
      <dgm:spPr/>
    </dgm:pt>
    <dgm:pt modelId="{C77B9A48-A49D-4DD5-AC7D-7CA1F1F22E56}" type="pres">
      <dgm:prSet presAssocID="{A16865B8-DA28-4469-B2B2-FC4C580DAE1D}" presName="bgRect" presStyleLbl="bgShp" presStyleIdx="1" presStyleCnt="3"/>
      <dgm:spPr/>
    </dgm:pt>
    <dgm:pt modelId="{81C8F9B7-61FA-4ACC-A1B4-F894FFE44123}" type="pres">
      <dgm:prSet presAssocID="{A16865B8-DA28-4469-B2B2-FC4C580DAE1D}"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Printer"/>
        </a:ext>
      </dgm:extLst>
    </dgm:pt>
    <dgm:pt modelId="{6A5F3419-FC83-437A-9141-B8A4B037B116}" type="pres">
      <dgm:prSet presAssocID="{A16865B8-DA28-4469-B2B2-FC4C580DAE1D}" presName="spaceRect" presStyleCnt="0"/>
      <dgm:spPr/>
    </dgm:pt>
    <dgm:pt modelId="{B704FFB3-6AFE-4271-98FF-CB5C94A28A83}" type="pres">
      <dgm:prSet presAssocID="{A16865B8-DA28-4469-B2B2-FC4C580DAE1D}" presName="parTx" presStyleLbl="revTx" presStyleIdx="1" presStyleCnt="3">
        <dgm:presLayoutVars>
          <dgm:chMax val="0"/>
          <dgm:chPref val="0"/>
        </dgm:presLayoutVars>
      </dgm:prSet>
      <dgm:spPr/>
    </dgm:pt>
    <dgm:pt modelId="{60656F5F-5FAF-4A7C-9603-482C296261AD}" type="pres">
      <dgm:prSet presAssocID="{05BDBE4D-4947-45B6-AB47-49FFE3EE997C}" presName="sibTrans" presStyleCnt="0"/>
      <dgm:spPr/>
    </dgm:pt>
    <dgm:pt modelId="{55866347-7278-4558-A1E3-4E99BABAB99E}" type="pres">
      <dgm:prSet presAssocID="{5B6516AF-0E4E-4B08-AB9D-ADB81329FCBA}" presName="compNode" presStyleCnt="0"/>
      <dgm:spPr/>
    </dgm:pt>
    <dgm:pt modelId="{650360B0-F656-4031-85C3-B985E23C9C1F}" type="pres">
      <dgm:prSet presAssocID="{5B6516AF-0E4E-4B08-AB9D-ADB81329FCBA}" presName="bgRect" presStyleLbl="bgShp" presStyleIdx="2" presStyleCnt="3"/>
      <dgm:spPr/>
    </dgm:pt>
    <dgm:pt modelId="{1B28D166-759F-4D64-B73B-698ABF7437C5}" type="pres">
      <dgm:prSet presAssocID="{5B6516AF-0E4E-4B08-AB9D-ADB81329FCBA}"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Dollar"/>
        </a:ext>
      </dgm:extLst>
    </dgm:pt>
    <dgm:pt modelId="{F97170B4-56C3-40FC-A179-76DB6A0A9C29}" type="pres">
      <dgm:prSet presAssocID="{5B6516AF-0E4E-4B08-AB9D-ADB81329FCBA}" presName="spaceRect" presStyleCnt="0"/>
      <dgm:spPr/>
    </dgm:pt>
    <dgm:pt modelId="{FAEA8508-0577-4D2D-96C0-88C28B658178}" type="pres">
      <dgm:prSet presAssocID="{5B6516AF-0E4E-4B08-AB9D-ADB81329FCBA}" presName="parTx" presStyleLbl="revTx" presStyleIdx="2" presStyleCnt="3">
        <dgm:presLayoutVars>
          <dgm:chMax val="0"/>
          <dgm:chPref val="0"/>
        </dgm:presLayoutVars>
      </dgm:prSet>
      <dgm:spPr/>
    </dgm:pt>
  </dgm:ptLst>
  <dgm:cxnLst>
    <dgm:cxn modelId="{B5BD6B10-0C22-48B8-988F-8EBD0F4830BB}" type="presOf" srcId="{E7182473-AF72-4614-ACA9-EDECE7922600}" destId="{E83B248A-3D8D-41D7-904C-4F8F54D55097}" srcOrd="0" destOrd="0" presId="urn:microsoft.com/office/officeart/2018/2/layout/IconVerticalSolidList"/>
    <dgm:cxn modelId="{78A6C120-B88C-4734-BEC2-2DF418040E19}" type="presOf" srcId="{A16865B8-DA28-4469-B2B2-FC4C580DAE1D}" destId="{B704FFB3-6AFE-4271-98FF-CB5C94A28A83}" srcOrd="0" destOrd="0" presId="urn:microsoft.com/office/officeart/2018/2/layout/IconVerticalSolidList"/>
    <dgm:cxn modelId="{F63B9C3A-EE5C-461A-AB78-1845619E2EFA}" type="presOf" srcId="{5B6516AF-0E4E-4B08-AB9D-ADB81329FCBA}" destId="{FAEA8508-0577-4D2D-96C0-88C28B658178}" srcOrd="0" destOrd="0" presId="urn:microsoft.com/office/officeart/2018/2/layout/IconVerticalSolidList"/>
    <dgm:cxn modelId="{7220A75D-C000-4D15-AD99-01F1A37BFF63}" type="presOf" srcId="{AAFF8F1E-FC5E-4D01-AAAE-97B6A4BB86B9}" destId="{F7A90F7B-CD22-4D7A-B525-B54A76A334B7}" srcOrd="0" destOrd="0" presId="urn:microsoft.com/office/officeart/2018/2/layout/IconVerticalSolidList"/>
    <dgm:cxn modelId="{B7534996-EF5D-4D2A-8648-C28A880E6925}" srcId="{AAFF8F1E-FC5E-4D01-AAAE-97B6A4BB86B9}" destId="{5B6516AF-0E4E-4B08-AB9D-ADB81329FCBA}" srcOrd="2" destOrd="0" parTransId="{CE07DC2D-1435-4038-8E5F-19A7E592BC3C}" sibTransId="{B19794DA-1993-436F-A818-C727EB0548C8}"/>
    <dgm:cxn modelId="{8689D1CD-9D7C-4CED-B686-D9A7956EADD5}" srcId="{AAFF8F1E-FC5E-4D01-AAAE-97B6A4BB86B9}" destId="{E7182473-AF72-4614-ACA9-EDECE7922600}" srcOrd="0" destOrd="0" parTransId="{6F4FCFB1-F266-4292-BB08-ED50C1F1787D}" sibTransId="{5C6DC509-9FC8-40CB-81DE-FDFB42858D48}"/>
    <dgm:cxn modelId="{D59D2BF0-7E3B-427E-B3D1-749976BCAC58}" srcId="{AAFF8F1E-FC5E-4D01-AAAE-97B6A4BB86B9}" destId="{A16865B8-DA28-4469-B2B2-FC4C580DAE1D}" srcOrd="1" destOrd="0" parTransId="{04FC5550-CD44-4729-90C5-8E86041B2249}" sibTransId="{05BDBE4D-4947-45B6-AB47-49FFE3EE997C}"/>
    <dgm:cxn modelId="{3B48EAF4-0E09-46A2-B999-B30B07A1ED77}" type="presParOf" srcId="{F7A90F7B-CD22-4D7A-B525-B54A76A334B7}" destId="{D36E75AD-53AB-41E7-9085-64AFE320763F}" srcOrd="0" destOrd="0" presId="urn:microsoft.com/office/officeart/2018/2/layout/IconVerticalSolidList"/>
    <dgm:cxn modelId="{B1C1AC1C-84F0-438A-8B98-7A3A206D64CF}" type="presParOf" srcId="{D36E75AD-53AB-41E7-9085-64AFE320763F}" destId="{7ADF99CB-B80D-4B57-95F6-BC822C7FA524}" srcOrd="0" destOrd="0" presId="urn:microsoft.com/office/officeart/2018/2/layout/IconVerticalSolidList"/>
    <dgm:cxn modelId="{89C51D69-470B-4699-9AE7-AC4D64B3FAC7}" type="presParOf" srcId="{D36E75AD-53AB-41E7-9085-64AFE320763F}" destId="{BF036A12-00E3-4752-A5DC-EF6B8E20AAD3}" srcOrd="1" destOrd="0" presId="urn:microsoft.com/office/officeart/2018/2/layout/IconVerticalSolidList"/>
    <dgm:cxn modelId="{E5800943-B030-4B28-83EE-700DBDF9CF77}" type="presParOf" srcId="{D36E75AD-53AB-41E7-9085-64AFE320763F}" destId="{469D750A-BF68-439B-A128-BA24BC4D25A7}" srcOrd="2" destOrd="0" presId="urn:microsoft.com/office/officeart/2018/2/layout/IconVerticalSolidList"/>
    <dgm:cxn modelId="{5BF29FA8-459B-4482-8505-763DBDFD05AF}" type="presParOf" srcId="{D36E75AD-53AB-41E7-9085-64AFE320763F}" destId="{E83B248A-3D8D-41D7-904C-4F8F54D55097}" srcOrd="3" destOrd="0" presId="urn:microsoft.com/office/officeart/2018/2/layout/IconVerticalSolidList"/>
    <dgm:cxn modelId="{264F9653-ED79-4147-BBD7-AAA6623E7E8A}" type="presParOf" srcId="{F7A90F7B-CD22-4D7A-B525-B54A76A334B7}" destId="{48383FE2-1332-4E53-A0BE-8A203EE9DA69}" srcOrd="1" destOrd="0" presId="urn:microsoft.com/office/officeart/2018/2/layout/IconVerticalSolidList"/>
    <dgm:cxn modelId="{DCF909D8-276C-462E-8B9D-5A74B53968D9}" type="presParOf" srcId="{F7A90F7B-CD22-4D7A-B525-B54A76A334B7}" destId="{44B543E5-3131-45BA-8254-4C5F5A7ED21A}" srcOrd="2" destOrd="0" presId="urn:microsoft.com/office/officeart/2018/2/layout/IconVerticalSolidList"/>
    <dgm:cxn modelId="{CA44F9FE-EAB6-4F42-8C4E-A3C5CB1007B9}" type="presParOf" srcId="{44B543E5-3131-45BA-8254-4C5F5A7ED21A}" destId="{C77B9A48-A49D-4DD5-AC7D-7CA1F1F22E56}" srcOrd="0" destOrd="0" presId="urn:microsoft.com/office/officeart/2018/2/layout/IconVerticalSolidList"/>
    <dgm:cxn modelId="{5E24CF38-CDA9-4B6A-B517-0A4CD0DD97EC}" type="presParOf" srcId="{44B543E5-3131-45BA-8254-4C5F5A7ED21A}" destId="{81C8F9B7-61FA-4ACC-A1B4-F894FFE44123}" srcOrd="1" destOrd="0" presId="urn:microsoft.com/office/officeart/2018/2/layout/IconVerticalSolidList"/>
    <dgm:cxn modelId="{07A10113-4CBF-4B61-8592-39BB349E25A8}" type="presParOf" srcId="{44B543E5-3131-45BA-8254-4C5F5A7ED21A}" destId="{6A5F3419-FC83-437A-9141-B8A4B037B116}" srcOrd="2" destOrd="0" presId="urn:microsoft.com/office/officeart/2018/2/layout/IconVerticalSolidList"/>
    <dgm:cxn modelId="{1DC1768F-F404-46F5-9B43-5490ECE28705}" type="presParOf" srcId="{44B543E5-3131-45BA-8254-4C5F5A7ED21A}" destId="{B704FFB3-6AFE-4271-98FF-CB5C94A28A83}" srcOrd="3" destOrd="0" presId="urn:microsoft.com/office/officeart/2018/2/layout/IconVerticalSolidList"/>
    <dgm:cxn modelId="{C0421815-227B-4C69-B65C-EB48A7BF4D77}" type="presParOf" srcId="{F7A90F7B-CD22-4D7A-B525-B54A76A334B7}" destId="{60656F5F-5FAF-4A7C-9603-482C296261AD}" srcOrd="3" destOrd="0" presId="urn:microsoft.com/office/officeart/2018/2/layout/IconVerticalSolidList"/>
    <dgm:cxn modelId="{4103186E-2BEA-428E-BFEE-1283FF6497A4}" type="presParOf" srcId="{F7A90F7B-CD22-4D7A-B525-B54A76A334B7}" destId="{55866347-7278-4558-A1E3-4E99BABAB99E}" srcOrd="4" destOrd="0" presId="urn:microsoft.com/office/officeart/2018/2/layout/IconVerticalSolidList"/>
    <dgm:cxn modelId="{6E4E55AA-079D-4821-851B-935F8E894641}" type="presParOf" srcId="{55866347-7278-4558-A1E3-4E99BABAB99E}" destId="{650360B0-F656-4031-85C3-B985E23C9C1F}" srcOrd="0" destOrd="0" presId="urn:microsoft.com/office/officeart/2018/2/layout/IconVerticalSolidList"/>
    <dgm:cxn modelId="{90A55B8E-1053-421F-B0B9-75C1B56F5DF7}" type="presParOf" srcId="{55866347-7278-4558-A1E3-4E99BABAB99E}" destId="{1B28D166-759F-4D64-B73B-698ABF7437C5}" srcOrd="1" destOrd="0" presId="urn:microsoft.com/office/officeart/2018/2/layout/IconVerticalSolidList"/>
    <dgm:cxn modelId="{848F92C5-871C-40B1-BAA4-6B2FE67E4C90}" type="presParOf" srcId="{55866347-7278-4558-A1E3-4E99BABAB99E}" destId="{F97170B4-56C3-40FC-A179-76DB6A0A9C29}" srcOrd="2" destOrd="0" presId="urn:microsoft.com/office/officeart/2018/2/layout/IconVerticalSolidList"/>
    <dgm:cxn modelId="{518C217F-7BEB-4D52-875D-A4E8B19CA852}" type="presParOf" srcId="{55866347-7278-4558-A1E3-4E99BABAB99E}" destId="{FAEA8508-0577-4D2D-96C0-88C28B658178}" srcOrd="3" destOrd="0" presId="urn:microsoft.com/office/officeart/2018/2/layout/IconVerticalSolid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DF99CB-B80D-4B57-95F6-BC822C7FA524}">
      <dsp:nvSpPr>
        <dsp:cNvPr id="0" name=""/>
        <dsp:cNvSpPr/>
      </dsp:nvSpPr>
      <dsp:spPr>
        <a:xfrm>
          <a:off x="0" y="1577"/>
          <a:ext cx="10030613" cy="754050"/>
        </a:xfrm>
        <a:prstGeom prst="roundRect">
          <a:avLst>
            <a:gd name="adj" fmla="val 10000"/>
          </a:avLst>
        </a:prstGeom>
        <a:solidFill>
          <a:schemeClr val="accent1">
            <a:tint val="5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F036A12-00E3-4752-A5DC-EF6B8E20AAD3}">
      <dsp:nvSpPr>
        <dsp:cNvPr id="0" name=""/>
        <dsp:cNvSpPr/>
      </dsp:nvSpPr>
      <dsp:spPr>
        <a:xfrm>
          <a:off x="228100" y="171238"/>
          <a:ext cx="415133" cy="41472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83B248A-3D8D-41D7-904C-4F8F54D55097}">
      <dsp:nvSpPr>
        <dsp:cNvPr id="0" name=""/>
        <dsp:cNvSpPr/>
      </dsp:nvSpPr>
      <dsp:spPr>
        <a:xfrm>
          <a:off x="871333" y="1577"/>
          <a:ext cx="9066958" cy="7547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9882" tIns="79882" rIns="79882" bIns="79882" numCol="1" spcCol="1270" anchor="ctr" anchorCtr="0">
          <a:noAutofit/>
        </a:bodyPr>
        <a:lstStyle/>
        <a:p>
          <a:pPr marL="0" lvl="0" indent="0" algn="l" defTabSz="622300">
            <a:lnSpc>
              <a:spcPct val="100000"/>
            </a:lnSpc>
            <a:spcBef>
              <a:spcPct val="0"/>
            </a:spcBef>
            <a:spcAft>
              <a:spcPct val="35000"/>
            </a:spcAft>
            <a:buNone/>
          </a:pPr>
          <a:r>
            <a:rPr lang="en-US" sz="1400" kern="1200" dirty="0">
              <a:solidFill>
                <a:schemeClr val="bg1"/>
              </a:solidFill>
            </a:rPr>
            <a:t>Chief information officer Andre is responsible for making sure that all Customer data is ingested properly and is available for any other application or organization.</a:t>
          </a:r>
        </a:p>
      </dsp:txBody>
      <dsp:txXfrm>
        <a:off x="871333" y="1577"/>
        <a:ext cx="9066958" cy="754787"/>
      </dsp:txXfrm>
    </dsp:sp>
    <dsp:sp modelId="{C77B9A48-A49D-4DD5-AC7D-7CA1F1F22E56}">
      <dsp:nvSpPr>
        <dsp:cNvPr id="0" name=""/>
        <dsp:cNvSpPr/>
      </dsp:nvSpPr>
      <dsp:spPr>
        <a:xfrm>
          <a:off x="0" y="915267"/>
          <a:ext cx="10030613" cy="754050"/>
        </a:xfrm>
        <a:prstGeom prst="roundRect">
          <a:avLst>
            <a:gd name="adj" fmla="val 10000"/>
          </a:avLst>
        </a:prstGeom>
        <a:solidFill>
          <a:schemeClr val="accent1">
            <a:tint val="5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1C8F9B7-61FA-4ACC-A1B4-F894FFE44123}">
      <dsp:nvSpPr>
        <dsp:cNvPr id="0" name=""/>
        <dsp:cNvSpPr/>
      </dsp:nvSpPr>
      <dsp:spPr>
        <a:xfrm>
          <a:off x="228100" y="1084929"/>
          <a:ext cx="415133" cy="41472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704FFB3-6AFE-4271-98FF-CB5C94A28A83}">
      <dsp:nvSpPr>
        <dsp:cNvPr id="0" name=""/>
        <dsp:cNvSpPr/>
      </dsp:nvSpPr>
      <dsp:spPr>
        <a:xfrm>
          <a:off x="871333" y="915267"/>
          <a:ext cx="9066958" cy="7547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9882" tIns="79882" rIns="79882" bIns="79882" numCol="1" spcCol="1270" anchor="ctr" anchorCtr="0">
          <a:noAutofit/>
        </a:bodyPr>
        <a:lstStyle/>
        <a:p>
          <a:pPr marL="0" lvl="0" indent="0" algn="l" defTabSz="622300">
            <a:lnSpc>
              <a:spcPct val="100000"/>
            </a:lnSpc>
            <a:spcBef>
              <a:spcPct val="0"/>
            </a:spcBef>
            <a:spcAft>
              <a:spcPct val="35000"/>
            </a:spcAft>
            <a:buNone/>
          </a:pPr>
          <a:r>
            <a:rPr lang="en-US" sz="1400" kern="1200" dirty="0">
              <a:solidFill>
                <a:schemeClr val="bg1"/>
              </a:solidFill>
            </a:rPr>
            <a:t>A large portion of information submitted by customers comes in either  handwritten or scanned forms. </a:t>
          </a:r>
          <a:r>
            <a:rPr lang="en-US" sz="1400" kern="1200" dirty="0" err="1">
              <a:solidFill>
                <a:schemeClr val="bg1"/>
              </a:solidFill>
            </a:rPr>
            <a:t>Woodgrove</a:t>
          </a:r>
          <a:r>
            <a:rPr lang="en-US" sz="1400" kern="1200" dirty="0">
              <a:solidFill>
                <a:schemeClr val="bg1"/>
              </a:solidFill>
            </a:rPr>
            <a:t> spends manual labor hours to scrape and digitize the data.</a:t>
          </a:r>
        </a:p>
      </dsp:txBody>
      <dsp:txXfrm>
        <a:off x="871333" y="915267"/>
        <a:ext cx="9066958" cy="754787"/>
      </dsp:txXfrm>
    </dsp:sp>
    <dsp:sp modelId="{650360B0-F656-4031-85C3-B985E23C9C1F}">
      <dsp:nvSpPr>
        <dsp:cNvPr id="0" name=""/>
        <dsp:cNvSpPr/>
      </dsp:nvSpPr>
      <dsp:spPr>
        <a:xfrm>
          <a:off x="0" y="1828957"/>
          <a:ext cx="10030613" cy="754050"/>
        </a:xfrm>
        <a:prstGeom prst="roundRect">
          <a:avLst>
            <a:gd name="adj" fmla="val 10000"/>
          </a:avLst>
        </a:prstGeom>
        <a:solidFill>
          <a:schemeClr val="accent1">
            <a:tint val="5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B28D166-759F-4D64-B73B-698ABF7437C5}">
      <dsp:nvSpPr>
        <dsp:cNvPr id="0" name=""/>
        <dsp:cNvSpPr/>
      </dsp:nvSpPr>
      <dsp:spPr>
        <a:xfrm>
          <a:off x="228323" y="1998619"/>
          <a:ext cx="415133" cy="41472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AEA8508-0577-4D2D-96C0-88C28B658178}">
      <dsp:nvSpPr>
        <dsp:cNvPr id="0" name=""/>
        <dsp:cNvSpPr/>
      </dsp:nvSpPr>
      <dsp:spPr>
        <a:xfrm>
          <a:off x="871779" y="1828957"/>
          <a:ext cx="9066958" cy="7547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9882" tIns="79882" rIns="79882" bIns="79882" numCol="1" spcCol="1270" anchor="ctr" anchorCtr="0">
          <a:noAutofit/>
        </a:bodyPr>
        <a:lstStyle/>
        <a:p>
          <a:pPr marL="0" lvl="0" indent="0" algn="l" defTabSz="622300">
            <a:lnSpc>
              <a:spcPct val="100000"/>
            </a:lnSpc>
            <a:spcBef>
              <a:spcPct val="0"/>
            </a:spcBef>
            <a:spcAft>
              <a:spcPct val="35000"/>
            </a:spcAft>
            <a:buNone/>
          </a:pPr>
          <a:r>
            <a:rPr lang="en-US" sz="1400" kern="1200" dirty="0">
              <a:solidFill>
                <a:schemeClr val="bg1"/>
              </a:solidFill>
            </a:rPr>
            <a:t>The manual process has slowed down the pace of business and adds significant cost. To enhance the customer experience and cut expenses Andre is looking to use Artificial intelligence and other Azure services to automate this process.</a:t>
          </a:r>
        </a:p>
      </dsp:txBody>
      <dsp:txXfrm>
        <a:off x="871779" y="1828957"/>
        <a:ext cx="9066958" cy="754787"/>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77EC566-E9FD-434C-BBA2-0A7DA02BE8E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466375A-01AC-4F6E-A99B-AD1633D8044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BFBA485-2AFF-4800-90E1-D92DE4717EEB}" type="datetimeFigureOut">
              <a:rPr lang="en-US" smtClean="0"/>
              <a:t>9/14/2021</a:t>
            </a:fld>
            <a:endParaRPr lang="en-US"/>
          </a:p>
        </p:txBody>
      </p:sp>
      <p:sp>
        <p:nvSpPr>
          <p:cNvPr id="4" name="Footer Placeholder 3">
            <a:extLst>
              <a:ext uri="{FF2B5EF4-FFF2-40B4-BE49-F238E27FC236}">
                <a16:creationId xmlns:a16="http://schemas.microsoft.com/office/drawing/2014/main" id="{41CD3B92-1002-4B99-AD5C-270AC5C3EC9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B5C87BE-EE6D-4216-9AEA-795EE7424C9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FFD52B1-16F2-4D4A-A797-1D87EBE241F4}" type="slidenum">
              <a:rPr lang="en-US" smtClean="0"/>
              <a:t>‹#›</a:t>
            </a:fld>
            <a:endParaRPr lang="en-US"/>
          </a:p>
        </p:txBody>
      </p:sp>
    </p:spTree>
    <p:extLst>
      <p:ext uri="{BB962C8B-B14F-4D97-AF65-F5344CB8AC3E}">
        <p14:creationId xmlns:p14="http://schemas.microsoft.com/office/powerpoint/2010/main" val="41779069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A8ADB10-CD76-4532-9574-4CA9E4ECD16D}" type="datetimeFigureOut">
              <a:rPr lang="en-US" smtClean="0"/>
              <a:t>9/1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55DC690-BF42-4CD8-A685-CF61807EAAC8}" type="slidenum">
              <a:rPr lang="en-US" smtClean="0"/>
              <a:t>‹#›</a:t>
            </a:fld>
            <a:endParaRPr lang="en-US"/>
          </a:p>
        </p:txBody>
      </p:sp>
    </p:spTree>
    <p:extLst>
      <p:ext uri="{BB962C8B-B14F-4D97-AF65-F5344CB8AC3E}">
        <p14:creationId xmlns:p14="http://schemas.microsoft.com/office/powerpoint/2010/main" val="27494311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563825A-F6AA-4151-A6AC-7E5685033920}" type="slidenum">
              <a:rPr lang="en-US" smtClean="0"/>
              <a:t>1</a:t>
            </a:fld>
            <a:endParaRPr lang="en-US"/>
          </a:p>
        </p:txBody>
      </p:sp>
    </p:spTree>
    <p:extLst>
      <p:ext uri="{BB962C8B-B14F-4D97-AF65-F5344CB8AC3E}">
        <p14:creationId xmlns:p14="http://schemas.microsoft.com/office/powerpoint/2010/main" val="39977989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1200" b="0" i="0" kern="1200">
                <a:solidFill>
                  <a:schemeClr val="tx1"/>
                </a:solidFill>
                <a:effectLst/>
                <a:latin typeface="+mn-lt"/>
                <a:ea typeface="+mn-ea"/>
                <a:cs typeface="+mn-cs"/>
              </a:rPr>
              <a:t>At an operational level, manual data entry is often time-consuming and error prone. Robotic process automation makes it possible to streamline these processes. </a:t>
            </a:r>
          </a:p>
          <a:p>
            <a:pPr rtl="0" fontAlgn="base"/>
            <a:r>
              <a:rPr lang="en-US" sz="1200" b="0" i="0" kern="1200">
                <a:solidFill>
                  <a:schemeClr val="tx1"/>
                </a:solidFill>
                <a:effectLst/>
                <a:latin typeface="+mn-lt"/>
                <a:ea typeface="+mn-ea"/>
                <a:cs typeface="+mn-cs"/>
              </a:rPr>
              <a:t> </a:t>
            </a:r>
          </a:p>
          <a:p>
            <a:pPr rtl="0" fontAlgn="base"/>
            <a:r>
              <a:rPr lang="en-US" sz="1200" b="0" i="0" kern="1200">
                <a:solidFill>
                  <a:schemeClr val="tx1"/>
                </a:solidFill>
                <a:effectLst/>
                <a:latin typeface="+mn-lt"/>
                <a:ea typeface="+mn-ea"/>
                <a:cs typeface="+mn-cs"/>
              </a:rPr>
              <a:t>A manufacturing company could receive thousands of PDF reports in a wide range of formats. Using an RPA platform with Azure Cognitive Services, the company could automatically extract text, fields, and tables from highly specialized forms to automate data entry. </a:t>
            </a:r>
          </a:p>
          <a:p>
            <a:pPr rtl="0" fontAlgn="base"/>
            <a:r>
              <a:rPr lang="en-US" sz="1200" b="0" i="0" kern="1200">
                <a:solidFill>
                  <a:schemeClr val="tx1"/>
                </a:solidFill>
                <a:effectLst/>
                <a:latin typeface="+mn-lt"/>
                <a:ea typeface="+mn-ea"/>
                <a:cs typeface="+mn-cs"/>
              </a:rPr>
              <a:t> </a:t>
            </a:r>
          </a:p>
          <a:p>
            <a:pPr rtl="0" fontAlgn="base"/>
            <a:r>
              <a:rPr lang="en-US" sz="1200" b="0" i="0" kern="1200">
                <a:solidFill>
                  <a:schemeClr val="tx1"/>
                </a:solidFill>
                <a:effectLst/>
                <a:latin typeface="+mn-lt"/>
                <a:ea typeface="+mn-ea"/>
                <a:cs typeface="+mn-cs"/>
              </a:rPr>
              <a:t>If data in the forms cannot be processed with enough confidence, the software notifies a human that the content needs to be validated. As you saw before, with Feedback Loop support, businesses can achieve more accurate data extraction by labeling the forms.  </a:t>
            </a:r>
          </a:p>
          <a:p>
            <a:pPr rtl="0" fontAlgn="base"/>
            <a:r>
              <a:rPr lang="en-US" sz="1200" b="0" i="0" kern="1200">
                <a:solidFill>
                  <a:schemeClr val="tx1"/>
                </a:solidFill>
                <a:effectLst/>
                <a:latin typeface="+mn-lt"/>
                <a:ea typeface="+mn-ea"/>
                <a:cs typeface="+mn-cs"/>
              </a:rPr>
              <a:t> </a:t>
            </a:r>
          </a:p>
          <a:p>
            <a:pPr rtl="0" fontAlgn="base"/>
            <a:r>
              <a:rPr lang="en-US" sz="1200" b="0" i="0" kern="1200">
                <a:solidFill>
                  <a:schemeClr val="tx1"/>
                </a:solidFill>
                <a:effectLst/>
                <a:latin typeface="+mn-lt"/>
                <a:ea typeface="+mn-ea"/>
                <a:cs typeface="+mn-cs"/>
              </a:rPr>
              <a:t>Subject matter experts have more time to focus on high value tasks and analyze the business with greater speed, accuracy, and depth.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2623E8-2F5C-425F-BBB7-C855E9F5E9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09449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0D544EF-4262-49E5-9B25-38548E4C6C3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4/2021 8: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827095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900" b="0" i="0" kern="1200">
                <a:solidFill>
                  <a:schemeClr val="tx1"/>
                </a:solidFill>
                <a:effectLst/>
                <a:latin typeface="Segoe UI Light" pitchFamily="34" charset="0"/>
                <a:ea typeface="+mn-ea"/>
                <a:cs typeface="+mn-cs"/>
              </a:rPr>
              <a:t>In the ever-changing world of regulations, organizations face the challenge of staying on top of audits and compliance. Knowledge mining can provide help organizations looking to stay above board. </a:t>
            </a:r>
          </a:p>
          <a:p>
            <a:pPr rtl="0" fontAlgn="base"/>
            <a:r>
              <a:rPr lang="en-US" sz="900" b="0" i="0" kern="1200">
                <a:solidFill>
                  <a:schemeClr val="tx1"/>
                </a:solidFill>
                <a:effectLst/>
                <a:latin typeface="Segoe UI Light" pitchFamily="34" charset="0"/>
                <a:ea typeface="+mn-ea"/>
                <a:cs typeface="+mn-cs"/>
              </a:rPr>
              <a:t> </a:t>
            </a:r>
          </a:p>
          <a:p>
            <a:pPr rtl="0" fontAlgn="base"/>
            <a:r>
              <a:rPr lang="en-US" sz="900" b="0" i="0" kern="1200">
                <a:solidFill>
                  <a:schemeClr val="tx1"/>
                </a:solidFill>
                <a:effectLst/>
                <a:latin typeface="Segoe UI Light" pitchFamily="34" charset="0"/>
                <a:ea typeface="+mn-ea"/>
                <a:cs typeface="+mn-cs"/>
              </a:rPr>
              <a:t>For most organizations, the legal department faces the challenge of reviewing thousands of pages of documentation. Developers can use knowledge mining to help attorneys quickly identify entities of importance from discovery documents and flag important ideas across assets. </a:t>
            </a:r>
          </a:p>
          <a:p>
            <a:pPr rtl="0" fontAlgn="base"/>
            <a:r>
              <a:rPr lang="en-US" sz="900" b="0" i="0" kern="1200">
                <a:solidFill>
                  <a:schemeClr val="tx1"/>
                </a:solidFill>
                <a:effectLst/>
                <a:latin typeface="Segoe UI Light" pitchFamily="34" charset="0"/>
                <a:ea typeface="+mn-ea"/>
                <a:cs typeface="+mn-cs"/>
              </a:rPr>
              <a:t> </a:t>
            </a:r>
          </a:p>
          <a:p>
            <a:pPr rtl="0" fontAlgn="base"/>
            <a:r>
              <a:rPr lang="en-US" sz="900" b="0" i="0" kern="1200">
                <a:solidFill>
                  <a:schemeClr val="tx1"/>
                </a:solidFill>
                <a:effectLst/>
                <a:latin typeface="Segoe UI Light" pitchFamily="34" charset="0"/>
                <a:ea typeface="+mn-ea"/>
                <a:cs typeface="+mn-cs"/>
              </a:rPr>
              <a:t>First, companies can ingest structured and unstructured data such as affidavits, meeting minutes, deeds, licensing agreements. They can do “document cracking,” the process of extracting text, images and metadata using optical character recognition. </a:t>
            </a:r>
          </a:p>
          <a:p>
            <a:pPr rtl="0" fontAlgn="base"/>
            <a:r>
              <a:rPr lang="en-US" sz="900" b="0" i="0" kern="1200">
                <a:solidFill>
                  <a:schemeClr val="tx1"/>
                </a:solidFill>
                <a:effectLst/>
                <a:latin typeface="Segoe UI Light" pitchFamily="34" charset="0"/>
                <a:ea typeface="+mn-ea"/>
                <a:cs typeface="+mn-cs"/>
              </a:rPr>
              <a:t> </a:t>
            </a:r>
          </a:p>
          <a:p>
            <a:pPr rtl="0" fontAlgn="base"/>
            <a:r>
              <a:rPr lang="en-US" sz="900" b="0" i="0" kern="1200">
                <a:solidFill>
                  <a:schemeClr val="tx1"/>
                </a:solidFill>
                <a:effectLst/>
                <a:latin typeface="Segoe UI Light" pitchFamily="34" charset="0"/>
                <a:ea typeface="+mn-ea"/>
                <a:cs typeface="+mn-cs"/>
              </a:rPr>
              <a:t>Next, they enrich the data with AI to extract key phrases, detect language, and create custom models to identify certain legal terms and clauses. </a:t>
            </a:r>
          </a:p>
          <a:p>
            <a:pPr rtl="0" fontAlgn="base"/>
            <a:r>
              <a:rPr lang="en-US" sz="900" b="0" i="0" kern="1200">
                <a:solidFill>
                  <a:schemeClr val="tx1"/>
                </a:solidFill>
                <a:effectLst/>
                <a:latin typeface="Segoe UI Light" pitchFamily="34" charset="0"/>
                <a:ea typeface="+mn-ea"/>
                <a:cs typeface="+mn-cs"/>
              </a:rPr>
              <a:t> </a:t>
            </a:r>
          </a:p>
          <a:p>
            <a:pPr rtl="0" fontAlgn="base"/>
            <a:r>
              <a:rPr lang="en-US" sz="900" b="0" i="0" kern="1200">
                <a:solidFill>
                  <a:schemeClr val="tx1"/>
                </a:solidFill>
                <a:effectLst/>
                <a:latin typeface="Segoe UI Light" pitchFamily="34" charset="0"/>
                <a:ea typeface="+mn-ea"/>
                <a:cs typeface="+mn-cs"/>
              </a:rPr>
              <a:t>Finally, companies explore this newly structured data via search to ultimately support more informed decisions. They can easily search complex documents for specific people, places, and organizations, or legal clauses. </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2021 8:53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40697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63825A-F6AA-4151-A6AC-7E56850339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75077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63825A-F6AA-4151-A6AC-7E56850339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75077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63825A-F6AA-4151-A6AC-7E56850339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05084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0D544EF-4262-49E5-9B25-38548E4C6C3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4/2021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912440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63825A-F6AA-4151-A6AC-7E56850339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75077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a:solidFill>
                  <a:schemeClr val="tx1"/>
                </a:solidFill>
                <a:effectLst/>
                <a:latin typeface="+mn-lt"/>
                <a:ea typeface="+mn-ea"/>
                <a:cs typeface="+mn-cs"/>
              </a:rPr>
              <a:t>So What is Azure AI?</a:t>
            </a:r>
          </a:p>
          <a:p>
            <a:endParaRPr lang="en-US" sz="1200" b="0" i="0" u="none" strike="noStrike" kern="1200">
              <a:solidFill>
                <a:schemeClr val="tx1"/>
              </a:solidFill>
              <a:effectLst/>
              <a:latin typeface="+mn-lt"/>
              <a:ea typeface="+mn-ea"/>
              <a:cs typeface="+mn-cs"/>
            </a:endParaRPr>
          </a:p>
          <a:p>
            <a:r>
              <a:rPr lang="en-US" sz="1200" b="0" i="0" u="none" strike="noStrike" kern="1200">
                <a:solidFill>
                  <a:schemeClr val="tx1"/>
                </a:solidFill>
                <a:effectLst/>
                <a:latin typeface="+mn-lt"/>
                <a:ea typeface="+mn-ea"/>
                <a:cs typeface="+mn-cs"/>
              </a:rPr>
              <a:t>Azure AI is a set of AI services that are built upon Azure and deeply integrated with Azure’s Data, App Development, Compute services and tools.</a:t>
            </a:r>
          </a:p>
          <a:p>
            <a:pPr lvl="0"/>
            <a:endParaRPr lang="en-US" sz="1200" b="1" u="sng" kern="1200">
              <a:solidFill>
                <a:schemeClr val="tx1"/>
              </a:solidFill>
              <a:effectLst/>
              <a:latin typeface="+mn-lt"/>
              <a:ea typeface="+mn-ea"/>
              <a:cs typeface="+mn-cs"/>
            </a:endParaRPr>
          </a:p>
          <a:p>
            <a:pPr lvl="0"/>
            <a:r>
              <a:rPr lang="en-US" sz="1200" kern="1200">
                <a:solidFill>
                  <a:schemeClr val="tx1"/>
                </a:solidFill>
                <a:effectLst/>
                <a:latin typeface="+mn-lt"/>
                <a:ea typeface="+mn-ea"/>
                <a:cs typeface="+mn-cs"/>
              </a:rPr>
              <a:t>With Azure Machine Learning, we provide developers data scientists and developers to build, train and deploy models.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AML is the only cloud ML service that enables developers of all skill levels to build ML models – from a code first experience, to drag &amp; drop, to automated machine learning where developers are not required to have any ML knowledge. No matter how models are built, they are stored and managed in a central registry.</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AML also provides advanced MLOPs capabilities with built-in integration with Azure DevOps. This enables developers to achieve model reproducibility, model validation, model deployment and model retraining capabilities.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Finally, AML is built on an open source foundation. </a:t>
            </a:r>
            <a:r>
              <a:rPr lang="en-US" sz="1200" kern="1200">
                <a:solidFill>
                  <a:schemeClr val="tx1"/>
                </a:solidFill>
                <a:effectLst/>
                <a:latin typeface="Segoe UI" panose="020B0502040204020203" pitchFamily="34" charset="0"/>
                <a:ea typeface="+mn-ea"/>
                <a:cs typeface="+mn-cs"/>
              </a:rPr>
              <a:t>Developers can choose the Python tool and process of their choice and even get started on their laptops. They have the freedom to use </a:t>
            </a:r>
            <a:r>
              <a:rPr lang="en-US" sz="1200" kern="1200" err="1">
                <a:solidFill>
                  <a:schemeClr val="tx1"/>
                </a:solidFill>
                <a:effectLst/>
                <a:latin typeface="Segoe UI" panose="020B0502040204020203" pitchFamily="34" charset="0"/>
                <a:ea typeface="+mn-ea"/>
                <a:cs typeface="+mn-cs"/>
              </a:rPr>
              <a:t>Mlflow</a:t>
            </a:r>
            <a:r>
              <a:rPr lang="en-US" sz="1200" kern="1200">
                <a:solidFill>
                  <a:schemeClr val="tx1"/>
                </a:solidFill>
                <a:effectLst/>
                <a:latin typeface="Segoe UI" panose="020B0502040204020203" pitchFamily="34" charset="0"/>
                <a:ea typeface="+mn-ea"/>
                <a:cs typeface="+mn-cs"/>
              </a:rPr>
              <a:t> if they’d like and take advantage of the ONNX Runtime to optimize inferencing on multiple HW targets.</a:t>
            </a:r>
          </a:p>
          <a:p>
            <a:pPr marL="171450" lvl="0" indent="-171450">
              <a:buFont typeface="Arial" panose="020B0604020202020204" pitchFamily="34" charset="0"/>
              <a:buChar char="•"/>
            </a:pPr>
            <a:endParaRPr lang="en-US" sz="1200" kern="120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sng" kern="1200">
                <a:solidFill>
                  <a:schemeClr val="tx1"/>
                </a:solidFill>
                <a:effectLst/>
                <a:latin typeface="+mn-lt"/>
                <a:ea typeface="+mn-ea"/>
                <a:cs typeface="+mn-cs"/>
              </a:rPr>
              <a:t>Customizable Vision, Speech, Language &amp; Decision Models:</a:t>
            </a:r>
            <a:endParaRPr lang="en-US" sz="1200" kern="120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r>
              <a:rPr lang="en-US" sz="1200" kern="1200">
                <a:solidFill>
                  <a:schemeClr val="tx1"/>
                </a:solidFill>
                <a:effectLst/>
                <a:latin typeface="Segoe UI" panose="020B0502040204020203" pitchFamily="34" charset="0"/>
                <a:ea typeface="+mn-ea"/>
                <a:cs typeface="+mn-cs"/>
              </a:rPr>
              <a:t>Built with Azure Machine Learning, we also offer developers the most comprehensive set of domain-specific pre-trained models – 30 across Vision, Speech, Language and Decision making – which are all based on our breakthrough research. Not only does Azure AI have the most number of pre-trained models, we are the only ones that can enable deployment anywhere – on-premises, on the edge and even other clouds through the use of containers. </a:t>
            </a:r>
          </a:p>
          <a:p>
            <a:pPr marL="0" lvl="0" indent="0">
              <a:buFont typeface="Arial" panose="020B0604020202020204" pitchFamily="34" charset="0"/>
              <a:buNone/>
            </a:pPr>
            <a:endParaRPr lang="en-US" sz="1200" kern="120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endParaRPr lang="en-US" sz="1200" kern="120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r>
              <a:rPr lang="en-US" sz="1200" b="1" u="sng" kern="1200">
                <a:solidFill>
                  <a:schemeClr val="tx1"/>
                </a:solidFill>
                <a:effectLst/>
                <a:latin typeface="Segoe UI" panose="020B0502040204020203" pitchFamily="34" charset="0"/>
                <a:ea typeface="+mn-ea"/>
                <a:cs typeface="+mn-cs"/>
              </a:rPr>
              <a:t>Scenario Specific Services</a:t>
            </a:r>
          </a:p>
          <a:p>
            <a:pPr marL="0" lvl="0" indent="0">
              <a:buFont typeface="Arial" panose="020B0604020202020204" pitchFamily="34" charset="0"/>
              <a:buNone/>
            </a:pPr>
            <a:r>
              <a:rPr lang="en-US" sz="1200" kern="1200">
                <a:solidFill>
                  <a:schemeClr val="tx1"/>
                </a:solidFill>
                <a:effectLst/>
                <a:latin typeface="Segoe UI" panose="020B0502040204020203" pitchFamily="34" charset="0"/>
                <a:ea typeface="+mn-ea"/>
                <a:cs typeface="+mn-cs"/>
              </a:rPr>
              <a:t>Finally, we offer AI applications specific services for professional developers.</a:t>
            </a:r>
          </a:p>
          <a:p>
            <a:pPr marL="0" lvl="0" indent="0">
              <a:buFont typeface="Arial" panose="020B0604020202020204" pitchFamily="34" charset="0"/>
              <a:buNone/>
            </a:pPr>
            <a:endParaRPr lang="en-US" sz="1200" kern="1200">
              <a:solidFill>
                <a:schemeClr val="tx1"/>
              </a:solidFill>
              <a:effectLst/>
              <a:latin typeface="Segoe UI" panose="020B050204020402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prstClr val="white"/>
                </a:solidFill>
                <a:effectLst/>
                <a:latin typeface="Segoe UI"/>
                <a:ea typeface="+mn-ea"/>
                <a:cs typeface="+mn-cs"/>
              </a:rPr>
              <a:t>Azure Bot Service is built on Azure Bot Framework, the most popular open source based bot framework.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effectLst/>
                <a:latin typeface="Segoe UI" panose="020B0502040204020203" pitchFamily="34" charset="0"/>
                <a:ea typeface="+mn-ea"/>
                <a:cs typeface="+mn-cs"/>
              </a:rPr>
              <a:t>This includes Azure Search is the only </a:t>
            </a:r>
            <a:r>
              <a:rPr lang="en-US" sz="1200">
                <a:solidFill>
                  <a:prstClr val="white"/>
                </a:solidFill>
                <a:latin typeface="Segoe UI"/>
              </a:rPr>
              <a:t>cloud app search service with built-in AI capabilities. This facilitates the creation of knowledge mining ap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prstClr val="white"/>
                </a:solidFill>
                <a:latin typeface="Segoe UI"/>
              </a:rPr>
              <a:t>Form recognizer has been designed to work on specific types of documents – forms. It extracts key value pairs from forms, thereby automating data entry tasks. Form recognizer is used by leading RPA providers as part of their solu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prstClr val="white"/>
                </a:solidFill>
                <a:latin typeface="Segoe UI"/>
              </a:rPr>
              <a:t>Finally, we have Video Indexer. Video Indexer that is used to extract in-depth metadata from video and audio conten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a:solidFill>
                <a:prstClr val="white"/>
              </a:solidFill>
              <a:effectLst/>
              <a:latin typeface="Segoe UI"/>
              <a:ea typeface="+mn-ea"/>
              <a:cs typeface="+mn-cs"/>
            </a:endParaRPr>
          </a:p>
          <a:p>
            <a:endParaRPr lang="en-US" sz="1200" b="0" i="0" u="none" strike="noStrike" kern="1200">
              <a:solidFill>
                <a:schemeClr val="tx1"/>
              </a:solidFill>
              <a:effectLst/>
              <a:latin typeface="+mn-lt"/>
              <a:ea typeface="+mn-ea"/>
              <a:cs typeface="+mn-cs"/>
            </a:endParaRPr>
          </a:p>
          <a:p>
            <a:endParaRPr lang="en-US" sz="1200" b="0" i="0" u="none" strike="noStrike" kern="1200">
              <a:solidFill>
                <a:schemeClr val="tx1"/>
              </a:solidFill>
              <a:effectLst/>
              <a:latin typeface="+mn-lt"/>
              <a:ea typeface="+mn-ea"/>
              <a:cs typeface="+mn-cs"/>
            </a:endParaRPr>
          </a:p>
          <a:p>
            <a:endParaRPr lang="en-US" sz="1200" b="0" i="0" u="none" strike="noStrike"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64F33-6B66-41CF-BE59-AF14614133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6098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b="0" kern="1200">
                <a:solidFill>
                  <a:schemeClr val="tx1"/>
                </a:solidFill>
                <a:effectLst/>
                <a:latin typeface="Segoe UI Light" pitchFamily="34" charset="0"/>
                <a:ea typeface="+mn-ea"/>
                <a:cs typeface="+mn-cs"/>
              </a:rPr>
              <a:t>Azure Cognitive Services provide the most comprehensive set of pre-built AI technologies that are easily accessible via RESTful API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2021 8:53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78296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900" b="0" i="0" kern="1200">
                <a:solidFill>
                  <a:schemeClr val="tx1"/>
                </a:solidFill>
                <a:effectLst/>
                <a:latin typeface="Segoe UI Light" pitchFamily="34" charset="0"/>
                <a:ea typeface="+mn-ea"/>
                <a:cs typeface="+mn-cs"/>
              </a:rPr>
              <a:t>Today, we’ll dive into robotic process automation with a scenario-specific solution called Form Recognizer; then later, we’ll touch on intelligent customer support. </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1D864F33-6B66-41CF-BE59-AF14614133F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801390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5.pn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5.pn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27.emf"/><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8.jpe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6.emf"/><Relationship Id="rId4" Type="http://schemas.openxmlformats.org/officeDocument/2006/relationships/oleObject" Target="../embeddings/oleObject1.bin"/></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eg"/><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eg"/><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eg"/><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jpe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tif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tif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7" y="2540313"/>
            <a:ext cx="9401560" cy="1793104"/>
          </a:xfrm>
          <a:noFill/>
        </p:spPr>
        <p:txBody>
          <a:bodyPr lIns="0" tIns="0" rIns="0" bIns="182880" anchor="b" anchorCtr="0"/>
          <a:lstStyle>
            <a:lvl1pPr algn="l">
              <a:defRPr sz="5291"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7" y="4342827"/>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91B34878-4E2A-4A5D-B3D3-F6CCF3BD21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5540" y="244285"/>
            <a:ext cx="1744034" cy="576853"/>
          </a:xfrm>
          <a:prstGeom prst="rect">
            <a:avLst/>
          </a:prstGeom>
        </p:spPr>
      </p:pic>
    </p:spTree>
    <p:extLst>
      <p:ext uri="{BB962C8B-B14F-4D97-AF65-F5344CB8AC3E}">
        <p14:creationId xmlns:p14="http://schemas.microsoft.com/office/powerpoint/2010/main" val="34562675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Content Half Left">
    <p:bg>
      <p:bgRef idx="1001">
        <a:schemeClr val="bg2"/>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2B61818-2F60-44E2-929C-E391BC061332}"/>
              </a:ext>
            </a:extLst>
          </p:cNvPr>
          <p:cNvSpPr/>
          <p:nvPr userDrawn="1"/>
        </p:nvSpPr>
        <p:spPr>
          <a:xfrm>
            <a:off x="6096000" y="0"/>
            <a:ext cx="6096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B19FDA58-07F4-46BC-9E98-2D69A2B8A8A7}"/>
              </a:ext>
            </a:extLst>
          </p:cNvPr>
          <p:cNvSpPr>
            <a:spLocks noGrp="1"/>
          </p:cNvSpPr>
          <p:nvPr>
            <p:ph type="body" sz="quarter" idx="10"/>
          </p:nvPr>
        </p:nvSpPr>
        <p:spPr>
          <a:xfrm>
            <a:off x="434975" y="2466878"/>
            <a:ext cx="5378450" cy="1924245"/>
          </a:xfrm>
        </p:spPr>
        <p:txBody>
          <a:bodyPr anchor="ct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830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022268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1130626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8533774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305185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1492319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2913166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076902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267504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39283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894294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p:bg>
      <p:bgRef idx="1001">
        <a:schemeClr val="bg2"/>
      </p:bgRef>
    </p:bg>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3" name="Title 2">
            <a:extLst>
              <a:ext uri="{FF2B5EF4-FFF2-40B4-BE49-F238E27FC236}">
                <a16:creationId xmlns:a16="http://schemas.microsoft.com/office/drawing/2014/main" id="{E76FA948-653B-4CA7-915C-E0E626C8813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5339788"/>
      </p:ext>
    </p:extLst>
  </p:cSld>
  <p:clrMapOvr>
    <a:overrideClrMapping bg1="dk1" tx1="lt1" bg2="dk2" tx2="lt2" accent1="accent1" accent2="accent2" accent3="accent3" accent4="accent4" accent5="accent5" accent6="accent6" hlink="hlink" folHlink="folHlink"/>
  </p:clrMapOvr>
  <p:transition>
    <p:fade/>
  </p:transition>
  <p:hf hdr="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19662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7452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698509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69179838"/>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9240106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9"/>
            <a:ext cx="11655840" cy="899665"/>
          </a:xfrm>
        </p:spPr>
        <p:txBody>
          <a:bodyPr/>
          <a:lstStyle>
            <a:lvl1pPr marL="0" algn="l" defTabSz="895874" rtl="0" eaLnBrk="1" latinLnBrk="0" hangingPunct="1">
              <a:spcBef>
                <a:spcPct val="0"/>
              </a:spcBef>
              <a:buNone/>
              <a:defRPr lang="en-US" sz="3919" b="0" i="0" u="none" kern="1200" spc="-147" baseline="0" dirty="0">
                <a:solidFill>
                  <a:schemeClr val="accent5">
                    <a:lumMod val="50000"/>
                  </a:schemeClr>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3249122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9"/>
            <a:ext cx="11655840" cy="899665"/>
          </a:xfrm>
        </p:spPr>
        <p:txBody>
          <a:bodyPr/>
          <a:lstStyle>
            <a:lvl1pPr marL="0" algn="l" defTabSz="895874" rtl="0" eaLnBrk="1" latinLnBrk="0" hangingPunct="1">
              <a:spcBef>
                <a:spcPct val="0"/>
              </a:spcBef>
              <a:buNone/>
              <a:defRPr lang="en-US" sz="4311"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994794849"/>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9"/>
            <a:ext cx="11655840" cy="806897"/>
          </a:xfrm>
        </p:spPr>
        <p:txBody>
          <a:bodyPr/>
          <a:lstStyle>
            <a:lvl1pPr marL="0" algn="l" defTabSz="895874" rtl="0" eaLnBrk="1" latinLnBrk="0" hangingPunct="1">
              <a:spcBef>
                <a:spcPct val="0"/>
              </a:spcBef>
              <a:buNone/>
              <a:defRPr lang="en-US" sz="3919"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84655145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_Subtitle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9"/>
            <a:ext cx="11655840" cy="806897"/>
          </a:xfrm>
        </p:spPr>
        <p:txBody>
          <a:bodyPr/>
          <a:lstStyle>
            <a:lvl1pPr marL="0" algn="l" defTabSz="895874" rtl="0" eaLnBrk="1" latinLnBrk="0" hangingPunct="1">
              <a:spcBef>
                <a:spcPct val="0"/>
              </a:spcBef>
              <a:buNone/>
              <a:defRPr lang="en-US" sz="4311"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
        <p:nvSpPr>
          <p:cNvPr id="8" name="Text Placeholder 7"/>
          <p:cNvSpPr>
            <a:spLocks noGrp="1"/>
          </p:cNvSpPr>
          <p:nvPr>
            <p:ph type="body" sz="quarter" idx="10"/>
          </p:nvPr>
        </p:nvSpPr>
        <p:spPr>
          <a:xfrm>
            <a:off x="269242" y="1186958"/>
            <a:ext cx="11655078" cy="669799"/>
          </a:xfrm>
        </p:spPr>
        <p:txBody>
          <a:bodyPr tIns="0" bIns="0"/>
          <a:lstStyle>
            <a:lvl1pPr marL="0" indent="0">
              <a:buNone/>
              <a:defRPr lang="en-US" sz="1961" kern="1200" spc="-29" baseline="0" dirty="0">
                <a:solidFill>
                  <a:srgbClr val="ED6722"/>
                </a:solidFill>
                <a:latin typeface="+mn-lt"/>
                <a:ea typeface="+mn-ea"/>
                <a:cs typeface="Bodoni Std Bold Italic"/>
              </a:defRPr>
            </a:lvl1pPr>
          </a:lstStyle>
          <a:p>
            <a:pPr marL="0" lvl="0" algn="l" defTabSz="896042" rtl="0" eaLnBrk="1" latinLnBrk="0" hangingPunct="1"/>
            <a:r>
              <a:rPr lang="en-US"/>
              <a:t>Edit Master text styles</a:t>
            </a:r>
          </a:p>
          <a:p>
            <a:pPr marL="0" lvl="1" algn="l" defTabSz="896042" rtl="0" eaLnBrk="1" latinLnBrk="0" hangingPunct="1"/>
            <a:r>
              <a:rPr lang="en-US"/>
              <a:t>Second level</a:t>
            </a:r>
          </a:p>
        </p:txBody>
      </p:sp>
    </p:spTree>
    <p:extLst>
      <p:ext uri="{BB962C8B-B14F-4D97-AF65-F5344CB8AC3E}">
        <p14:creationId xmlns:p14="http://schemas.microsoft.com/office/powerpoint/2010/main" val="1358651416"/>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99665"/>
          </a:xfrm>
        </p:spPr>
        <p:txBody>
          <a:bodyPr/>
          <a:lstStyle>
            <a:lvl1pPr marL="0" algn="l" defTabSz="896046" rtl="0" eaLnBrk="1" latinLnBrk="0" hangingPunct="1">
              <a:spcBef>
                <a:spcPct val="0"/>
              </a:spcBef>
              <a:buNone/>
              <a:defRPr lang="en-US" sz="3920" b="0" i="0" u="none" kern="1200" spc="-147" baseline="0" dirty="0">
                <a:solidFill>
                  <a:schemeClr val="accent5">
                    <a:lumMod val="50000"/>
                  </a:schemeClr>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68554583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amp; body with bullets slid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ext Placeholder 2">
            <a:extLst>
              <a:ext uri="{FF2B5EF4-FFF2-40B4-BE49-F238E27FC236}">
                <a16:creationId xmlns:a16="http://schemas.microsoft.com/office/drawing/2014/main" id="{0E2CAED3-5C3B-4638-84D2-AFD40B0A6536}"/>
              </a:ext>
            </a:extLst>
          </p:cNvPr>
          <p:cNvSpPr>
            <a:spLocks noGrp="1"/>
          </p:cNvSpPr>
          <p:nvPr>
            <p:ph type="body" sz="quarter" idx="11"/>
          </p:nvPr>
        </p:nvSpPr>
        <p:spPr>
          <a:xfrm>
            <a:off x="436563" y="1103616"/>
            <a:ext cx="11336337" cy="307777"/>
          </a:xfrm>
        </p:spPr>
        <p:txBody>
          <a:bodyPr/>
          <a:lstStyle>
            <a:lvl1pPr algn="ctr">
              <a:defRPr sz="2000" b="0">
                <a:solidFill>
                  <a:schemeClr val="accent6">
                    <a:lumMod val="60000"/>
                    <a:lumOff val="40000"/>
                  </a:schemeClr>
                </a:solidFill>
              </a:defRPr>
            </a:lvl1pPr>
          </a:lstStyle>
          <a:p>
            <a:pPr lvl="0"/>
            <a:r>
              <a:rPr lang="en-US"/>
              <a:t>Click to edit Master text styles</a:t>
            </a:r>
          </a:p>
        </p:txBody>
      </p:sp>
      <p:sp>
        <p:nvSpPr>
          <p:cNvPr id="4" name="Title 3">
            <a:extLst>
              <a:ext uri="{FF2B5EF4-FFF2-40B4-BE49-F238E27FC236}">
                <a16:creationId xmlns:a16="http://schemas.microsoft.com/office/drawing/2014/main" id="{E6B7040F-1E2C-4F82-ABB7-F07F089ED8BE}"/>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6501078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99665"/>
          </a:xfrm>
        </p:spPr>
        <p:txBody>
          <a:bodyPr/>
          <a:lstStyle>
            <a:lvl1pPr marL="0" algn="l" defTabSz="896046" rtl="0" eaLnBrk="1" latinLnBrk="0" hangingPunct="1">
              <a:spcBef>
                <a:spcPct val="0"/>
              </a:spcBef>
              <a:buNone/>
              <a:defRPr lang="en-US" sz="4312"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4081284484"/>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40026809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_Subtitle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4312"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
        <p:nvSpPr>
          <p:cNvPr id="8" name="Text Placeholder 7"/>
          <p:cNvSpPr>
            <a:spLocks noGrp="1"/>
          </p:cNvSpPr>
          <p:nvPr>
            <p:ph type="body" sz="quarter" idx="10"/>
          </p:nvPr>
        </p:nvSpPr>
        <p:spPr>
          <a:xfrm>
            <a:off x="269241" y="1186958"/>
            <a:ext cx="11655078" cy="669799"/>
          </a:xfrm>
        </p:spPr>
        <p:txBody>
          <a:bodyPr tIns="0" bIns="0"/>
          <a:lstStyle>
            <a:lvl1pPr marL="0" indent="0">
              <a:buNone/>
              <a:defRPr lang="en-US" sz="1961" kern="1200" spc="-29" baseline="0" dirty="0">
                <a:solidFill>
                  <a:srgbClr val="ED6722"/>
                </a:solidFill>
                <a:latin typeface="+mn-lt"/>
                <a:ea typeface="+mn-ea"/>
                <a:cs typeface="Bodoni Std Bold Italic"/>
              </a:defRPr>
            </a:lvl1pPr>
          </a:lstStyle>
          <a:p>
            <a:pPr marL="0" lvl="0" algn="l" defTabSz="896214" rtl="0" eaLnBrk="1" latinLnBrk="0" hangingPunct="1"/>
            <a:r>
              <a:rPr lang="en-US"/>
              <a:t>Edit Master text styles</a:t>
            </a:r>
          </a:p>
          <a:p>
            <a:pPr marL="0" lvl="1" algn="l" defTabSz="896214" rtl="0" eaLnBrk="1" latinLnBrk="0" hangingPunct="1"/>
            <a:r>
              <a:rPr lang="en-US"/>
              <a:t>Second level</a:t>
            </a:r>
          </a:p>
        </p:txBody>
      </p:sp>
    </p:spTree>
    <p:extLst>
      <p:ext uri="{BB962C8B-B14F-4D97-AF65-F5344CB8AC3E}">
        <p14:creationId xmlns:p14="http://schemas.microsoft.com/office/powerpoint/2010/main" val="92809648"/>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Blank">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9242026"/>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12207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408376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73618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pic>
        <p:nvPicPr>
          <p:cNvPr id="4" name="Picture 3"/>
          <p:cNvPicPr>
            <a:picLocks noChangeAspect="1"/>
          </p:cNvPicPr>
          <p:nvPr userDrawn="1"/>
        </p:nvPicPr>
        <p:blipFill>
          <a:blip r:embed="rId3"/>
          <a:stretch>
            <a:fillRect/>
          </a:stretch>
        </p:blipFill>
        <p:spPr>
          <a:xfrm>
            <a:off x="450205" y="3083652"/>
            <a:ext cx="3227129" cy="692057"/>
          </a:xfrm>
          <a:prstGeom prst="rect">
            <a:avLst/>
          </a:prstGeom>
        </p:spPr>
      </p:pic>
      <p:pic>
        <p:nvPicPr>
          <p:cNvPr id="5" name="Picture 4"/>
          <p:cNvPicPr>
            <a:picLocks noChangeAspect="1"/>
          </p:cNvPicPr>
          <p:nvPr userDrawn="1"/>
        </p:nvPicPr>
        <p:blipFill>
          <a:blip r:embed="rId3"/>
          <a:stretch>
            <a:fillRect/>
          </a:stretch>
        </p:blipFill>
        <p:spPr>
          <a:xfrm>
            <a:off x="450205" y="3083652"/>
            <a:ext cx="3227129" cy="692057"/>
          </a:xfrm>
          <a:prstGeom prst="rect">
            <a:avLst/>
          </a:prstGeom>
        </p:spPr>
      </p:pic>
      <p:sp>
        <p:nvSpPr>
          <p:cNvPr id="6" name="Text Box 3"/>
          <p:cNvSpPr txBox="1">
            <a:spLocks noChangeArrowheads="1"/>
          </p:cNvSpPr>
          <p:nvPr userDrawn="1"/>
        </p:nvSpPr>
        <p:spPr bwMode="blackWhite">
          <a:xfrm>
            <a:off x="287917" y="6223195"/>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defTabSz="913573" eaLnBrk="0" hangingPunct="0"/>
            <a:r>
              <a:rPr lang="en-US" sz="686">
                <a:gradFill>
                  <a:gsLst>
                    <a:gs pos="0">
                      <a:srgbClr val="505050"/>
                    </a:gs>
                    <a:gs pos="100000">
                      <a:srgbClr val="505050"/>
                    </a:gs>
                  </a:gsLst>
                  <a:lin ang="5400000" scaled="0"/>
                </a:gradFill>
                <a:cs typeface="Segoe UI" pitchFamily="34" charset="0"/>
              </a:rPr>
              <a:t>© 2016 Microsoft Corporation. All rights reserved. </a:t>
            </a:r>
          </a:p>
        </p:txBody>
      </p:sp>
    </p:spTree>
    <p:extLst>
      <p:ext uri="{BB962C8B-B14F-4D97-AF65-F5344CB8AC3E}">
        <p14:creationId xmlns:p14="http://schemas.microsoft.com/office/powerpoint/2010/main" val="396087541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1_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2" y="6170061"/>
            <a:ext cx="11623331"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defTabSz="913573" eaLnBrk="0" hangingPunct="0"/>
            <a:r>
              <a:rPr lang="en-US" sz="686">
                <a:solidFill>
                  <a:schemeClr val="tx1">
                    <a:lumMod val="25000"/>
                    <a:lumOff val="75000"/>
                  </a:schemeClr>
                </a:solidFill>
                <a:cs typeface="Segoe UI" pitchFamily="34" charset="0"/>
              </a:rPr>
              <a:t>©</a:t>
            </a:r>
            <a:r>
              <a:rPr lang="en-US" sz="686" baseline="0">
                <a:solidFill>
                  <a:schemeClr val="tx1">
                    <a:lumMod val="25000"/>
                    <a:lumOff val="75000"/>
                  </a:schemeClr>
                </a:solidFill>
                <a:cs typeface="Segoe UI" pitchFamily="34" charset="0"/>
              </a:rPr>
              <a:t> Copyright</a:t>
            </a:r>
            <a:r>
              <a:rPr lang="en-US" sz="686">
                <a:solidFill>
                  <a:schemeClr val="tx1">
                    <a:lumMod val="25000"/>
                    <a:lumOff val="75000"/>
                  </a:schemeClr>
                </a:solidFill>
                <a:cs typeface="Segoe UI" pitchFamily="34" charset="0"/>
              </a:rPr>
              <a:t> Microsoft Corporation. All rights reserved. </a:t>
            </a:r>
          </a:p>
        </p:txBody>
      </p:sp>
      <p:pic>
        <p:nvPicPr>
          <p:cNvPr id="6" name="Picture 5"/>
          <p:cNvPicPr>
            <a:picLocks noChangeAspect="1"/>
          </p:cNvPicPr>
          <p:nvPr/>
        </p:nvPicPr>
        <p:blipFill>
          <a:blip r:embed="rId2"/>
          <a:stretch>
            <a:fillRect/>
          </a:stretch>
        </p:blipFill>
        <p:spPr>
          <a:xfrm>
            <a:off x="12664" y="2679589"/>
            <a:ext cx="4074608" cy="1498825"/>
          </a:xfrm>
          <a:prstGeom prst="rect">
            <a:avLst/>
          </a:prstGeom>
        </p:spPr>
      </p:pic>
    </p:spTree>
    <p:extLst>
      <p:ext uri="{BB962C8B-B14F-4D97-AF65-F5344CB8AC3E}">
        <p14:creationId xmlns:p14="http://schemas.microsoft.com/office/powerpoint/2010/main" val="324218784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Insert Photo">
    <p:spTree>
      <p:nvGrpSpPr>
        <p:cNvPr id="1" name=""/>
        <p:cNvGrpSpPr/>
        <p:nvPr/>
      </p:nvGrpSpPr>
      <p:grpSpPr>
        <a:xfrm>
          <a:off x="0" y="0"/>
          <a:ext cx="0" cy="0"/>
          <a:chOff x="0" y="0"/>
          <a:chExt cx="0" cy="0"/>
        </a:xfrm>
      </p:grpSpPr>
      <p:sp>
        <p:nvSpPr>
          <p:cNvPr id="20" name="Picture Placeholder 144"/>
          <p:cNvSpPr>
            <a:spLocks noGrp="1"/>
          </p:cNvSpPr>
          <p:nvPr>
            <p:ph type="pic" sz="quarter" idx="20"/>
          </p:nvPr>
        </p:nvSpPr>
        <p:spPr>
          <a:xfrm>
            <a:off x="0" y="4"/>
            <a:ext cx="12192000" cy="3428999"/>
          </a:xfrm>
        </p:spPr>
        <p:txBody>
          <a:bodyPr>
            <a:noAutofit/>
          </a:bodyPr>
          <a:lstStyle/>
          <a:p>
            <a:endParaRPr lang="en-US"/>
          </a:p>
        </p:txBody>
      </p:sp>
      <p:sp>
        <p:nvSpPr>
          <p:cNvPr id="21" name="Title 1"/>
          <p:cNvSpPr>
            <a:spLocks noGrp="1"/>
          </p:cNvSpPr>
          <p:nvPr>
            <p:ph type="ctrTitle"/>
          </p:nvPr>
        </p:nvSpPr>
        <p:spPr>
          <a:xfrm>
            <a:off x="609773" y="3446588"/>
            <a:ext cx="10965928" cy="894304"/>
          </a:xfrm>
        </p:spPr>
        <p:txBody>
          <a:bodyPr lIns="0" tIns="0" rIns="0" bIns="0" anchor="ctr">
            <a:noAutofit/>
          </a:bodyPr>
          <a:lstStyle>
            <a:lvl1pPr algn="l">
              <a:defRPr sz="4400" b="0">
                <a:solidFill>
                  <a:schemeClr val="accent1"/>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09603" y="4349484"/>
            <a:ext cx="10966102" cy="1594115"/>
          </a:xfrm>
        </p:spPr>
        <p:txBody>
          <a:bodyPr lIns="0" tIns="0" rIns="0" bIns="0">
            <a:noAutofit/>
          </a:bodyPr>
          <a:lstStyle>
            <a:lvl1pPr marL="0" indent="0">
              <a:lnSpc>
                <a:spcPts val="1800"/>
              </a:lnSpc>
              <a:buNone/>
              <a:defRPr sz="1400">
                <a:solidFill>
                  <a:schemeClr val="tx1"/>
                </a:solidFill>
              </a:defRPr>
            </a:lvl1pPr>
          </a:lstStyle>
          <a:p>
            <a:pPr lvl="0"/>
            <a:r>
              <a:rPr lang="en-US"/>
              <a:t>Click to edit Master text styles</a:t>
            </a:r>
          </a:p>
        </p:txBody>
      </p:sp>
      <p:sp>
        <p:nvSpPr>
          <p:cNvPr id="43" name="Text Placeholder 136"/>
          <p:cNvSpPr>
            <a:spLocks noGrp="1"/>
          </p:cNvSpPr>
          <p:nvPr>
            <p:ph type="body" sz="quarter" idx="27"/>
          </p:nvPr>
        </p:nvSpPr>
        <p:spPr>
          <a:xfrm>
            <a:off x="10210800" y="5941308"/>
            <a:ext cx="1364901" cy="371386"/>
          </a:xfrm>
        </p:spPr>
        <p:txBody>
          <a:bodyPr lIns="0" tIns="0" rIns="0" bIns="0">
            <a:noAutofit/>
          </a:bodyPr>
          <a:lstStyle>
            <a:lvl1pPr marL="0" marR="0" indent="0" algn="l" defTabSz="913874"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6937" indent="0">
              <a:buNone/>
              <a:defRPr sz="800"/>
            </a:lvl2pPr>
            <a:lvl3pPr marL="913874" indent="0">
              <a:buNone/>
              <a:defRPr sz="800"/>
            </a:lvl3pPr>
            <a:lvl4pPr marL="1370810" indent="0">
              <a:buNone/>
              <a:defRPr sz="800"/>
            </a:lvl4pPr>
            <a:lvl5pPr marL="1827747" indent="0">
              <a:buNone/>
              <a:defRPr sz="800"/>
            </a:lvl5pPr>
          </a:lstStyle>
          <a:p>
            <a:pPr lvl="0"/>
            <a:r>
              <a:rPr lang="en-US"/>
              <a:t>Click to edit Master text styles</a:t>
            </a:r>
          </a:p>
        </p:txBody>
      </p:sp>
      <p:sp>
        <p:nvSpPr>
          <p:cNvPr id="44" name="Text Placeholder 136"/>
          <p:cNvSpPr>
            <a:spLocks noGrp="1"/>
          </p:cNvSpPr>
          <p:nvPr>
            <p:ph type="body" sz="quarter" idx="28"/>
          </p:nvPr>
        </p:nvSpPr>
        <p:spPr>
          <a:xfrm>
            <a:off x="8839203" y="5941308"/>
            <a:ext cx="1364901" cy="371386"/>
          </a:xfrm>
        </p:spPr>
        <p:txBody>
          <a:bodyPr lIns="0" tIns="0" rIns="0" bIns="0">
            <a:noAutofit/>
          </a:bodyPr>
          <a:lstStyle>
            <a:lvl1pPr marL="0" marR="0" indent="0" algn="l" defTabSz="913874"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6937" indent="0">
              <a:buNone/>
              <a:defRPr sz="800"/>
            </a:lvl2pPr>
            <a:lvl3pPr marL="913874" indent="0">
              <a:buNone/>
              <a:defRPr sz="800"/>
            </a:lvl3pPr>
            <a:lvl4pPr marL="1370810" indent="0">
              <a:buNone/>
              <a:defRPr sz="800"/>
            </a:lvl4pPr>
            <a:lvl5pPr marL="1827747" indent="0">
              <a:buNone/>
              <a:defRPr sz="800"/>
            </a:lvl5pPr>
          </a:lstStyle>
          <a:p>
            <a:pPr lvl="0"/>
            <a:r>
              <a:rPr lang="en-US"/>
              <a:t>Click to edit Master text styles</a:t>
            </a:r>
          </a:p>
        </p:txBody>
      </p:sp>
      <p:sp>
        <p:nvSpPr>
          <p:cNvPr id="45" name="Text Placeholder 136"/>
          <p:cNvSpPr>
            <a:spLocks noGrp="1"/>
          </p:cNvSpPr>
          <p:nvPr>
            <p:ph type="body" sz="quarter" idx="29"/>
          </p:nvPr>
        </p:nvSpPr>
        <p:spPr>
          <a:xfrm>
            <a:off x="7467603" y="5941308"/>
            <a:ext cx="1364901" cy="371386"/>
          </a:xfrm>
        </p:spPr>
        <p:txBody>
          <a:bodyPr lIns="0" tIns="0" rIns="0" bIns="0">
            <a:noAutofit/>
          </a:bodyPr>
          <a:lstStyle>
            <a:lvl1pPr marL="0" marR="0" indent="0" algn="l" defTabSz="913874"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6937" indent="0">
              <a:buNone/>
              <a:defRPr sz="800"/>
            </a:lvl2pPr>
            <a:lvl3pPr marL="913874" indent="0">
              <a:buNone/>
              <a:defRPr sz="800"/>
            </a:lvl3pPr>
            <a:lvl4pPr marL="1370810" indent="0">
              <a:buNone/>
              <a:defRPr sz="800"/>
            </a:lvl4pPr>
            <a:lvl5pPr marL="1827747" indent="0">
              <a:buNone/>
              <a:defRPr sz="800"/>
            </a:lvl5pPr>
          </a:lstStyle>
          <a:p>
            <a:pPr lvl="0"/>
            <a:r>
              <a:rPr lang="en-US"/>
              <a:t>Click to edit Master text styles</a:t>
            </a:r>
          </a:p>
        </p:txBody>
      </p:sp>
      <p:sp>
        <p:nvSpPr>
          <p:cNvPr id="46" name="Text Placeholder 136"/>
          <p:cNvSpPr>
            <a:spLocks noGrp="1"/>
          </p:cNvSpPr>
          <p:nvPr>
            <p:ph type="body" sz="quarter" idx="30"/>
          </p:nvPr>
        </p:nvSpPr>
        <p:spPr>
          <a:xfrm>
            <a:off x="6096000" y="5941308"/>
            <a:ext cx="1364901" cy="371386"/>
          </a:xfrm>
        </p:spPr>
        <p:txBody>
          <a:bodyPr lIns="0" tIns="0" rIns="0" bIns="0">
            <a:noAutofit/>
          </a:bodyPr>
          <a:lstStyle>
            <a:lvl1pPr marL="0" marR="0" indent="0" algn="l" defTabSz="913874"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6937" indent="0">
              <a:buNone/>
              <a:defRPr sz="800"/>
            </a:lvl2pPr>
            <a:lvl3pPr marL="913874" indent="0">
              <a:buNone/>
              <a:defRPr sz="800"/>
            </a:lvl3pPr>
            <a:lvl4pPr marL="1370810" indent="0">
              <a:buNone/>
              <a:defRPr sz="800"/>
            </a:lvl4pPr>
            <a:lvl5pPr marL="1827747" indent="0">
              <a:buNone/>
              <a:defRPr sz="800"/>
            </a:lvl5pPr>
          </a:lstStyle>
          <a:p>
            <a:pPr lvl="0"/>
            <a:r>
              <a:rPr lang="en-US"/>
              <a:t>Click to edit Master text styles</a:t>
            </a:r>
          </a:p>
        </p:txBody>
      </p:sp>
      <p:sp>
        <p:nvSpPr>
          <p:cNvPr id="47" name="Text Placeholder 136"/>
          <p:cNvSpPr>
            <a:spLocks noGrp="1"/>
          </p:cNvSpPr>
          <p:nvPr>
            <p:ph type="body" sz="quarter" idx="31"/>
          </p:nvPr>
        </p:nvSpPr>
        <p:spPr>
          <a:xfrm>
            <a:off x="4724403" y="5941308"/>
            <a:ext cx="1364901" cy="371386"/>
          </a:xfrm>
        </p:spPr>
        <p:txBody>
          <a:bodyPr lIns="0" tIns="0" rIns="0" bIns="0">
            <a:noAutofit/>
          </a:bodyPr>
          <a:lstStyle>
            <a:lvl1pPr marL="0" marR="0" indent="0" algn="l" defTabSz="913874"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6937" indent="0">
              <a:buNone/>
              <a:defRPr sz="800"/>
            </a:lvl2pPr>
            <a:lvl3pPr marL="913874" indent="0">
              <a:buNone/>
              <a:defRPr sz="800"/>
            </a:lvl3pPr>
            <a:lvl4pPr marL="1370810" indent="0">
              <a:buNone/>
              <a:defRPr sz="800"/>
            </a:lvl4pPr>
            <a:lvl5pPr marL="1827747" indent="0">
              <a:buNone/>
              <a:defRPr sz="800"/>
            </a:lvl5pPr>
          </a:lstStyle>
          <a:p>
            <a:pPr lvl="0"/>
            <a:r>
              <a:rPr lang="en-US"/>
              <a:t>Click to edit Master text styles</a:t>
            </a:r>
          </a:p>
        </p:txBody>
      </p:sp>
      <p:sp>
        <p:nvSpPr>
          <p:cNvPr id="48" name="Text Placeholder 136"/>
          <p:cNvSpPr>
            <a:spLocks noGrp="1"/>
          </p:cNvSpPr>
          <p:nvPr>
            <p:ph type="body" sz="quarter" idx="32"/>
          </p:nvPr>
        </p:nvSpPr>
        <p:spPr>
          <a:xfrm>
            <a:off x="3352800" y="5941308"/>
            <a:ext cx="1364901" cy="371386"/>
          </a:xfrm>
        </p:spPr>
        <p:txBody>
          <a:bodyPr lIns="0" tIns="0" rIns="0" bIns="0">
            <a:noAutofit/>
          </a:bodyPr>
          <a:lstStyle>
            <a:lvl1pPr marL="0" marR="0" indent="0" algn="l" defTabSz="913874"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6937" indent="0">
              <a:buNone/>
              <a:defRPr sz="800"/>
            </a:lvl2pPr>
            <a:lvl3pPr marL="913874" indent="0">
              <a:buNone/>
              <a:defRPr sz="800"/>
            </a:lvl3pPr>
            <a:lvl4pPr marL="1370810" indent="0">
              <a:buNone/>
              <a:defRPr sz="800"/>
            </a:lvl4pPr>
            <a:lvl5pPr marL="1827747" indent="0">
              <a:buNone/>
              <a:defRPr sz="800"/>
            </a:lvl5pPr>
          </a:lstStyle>
          <a:p>
            <a:pPr lvl="0"/>
            <a:r>
              <a:rPr lang="en-US"/>
              <a:t>Click to edit Master text styles</a:t>
            </a:r>
          </a:p>
        </p:txBody>
      </p:sp>
      <p:sp>
        <p:nvSpPr>
          <p:cNvPr id="49" name="Text Placeholder 136"/>
          <p:cNvSpPr>
            <a:spLocks noGrp="1"/>
          </p:cNvSpPr>
          <p:nvPr>
            <p:ph type="body" sz="quarter" idx="33"/>
          </p:nvPr>
        </p:nvSpPr>
        <p:spPr>
          <a:xfrm>
            <a:off x="1981203" y="5941308"/>
            <a:ext cx="1364901" cy="371386"/>
          </a:xfrm>
        </p:spPr>
        <p:txBody>
          <a:bodyPr lIns="0" tIns="0" rIns="0" bIns="0">
            <a:noAutofit/>
          </a:bodyPr>
          <a:lstStyle>
            <a:lvl1pPr marL="0" marR="0" indent="0" algn="l" defTabSz="913874"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6937" indent="0">
              <a:buNone/>
              <a:defRPr sz="800"/>
            </a:lvl2pPr>
            <a:lvl3pPr marL="913874" indent="0">
              <a:buNone/>
              <a:defRPr sz="800"/>
            </a:lvl3pPr>
            <a:lvl4pPr marL="1370810" indent="0">
              <a:buNone/>
              <a:defRPr sz="800"/>
            </a:lvl4pPr>
            <a:lvl5pPr marL="1827747" indent="0">
              <a:buNone/>
              <a:defRPr sz="800"/>
            </a:lvl5pPr>
          </a:lstStyle>
          <a:p>
            <a:pPr lvl="0"/>
            <a:r>
              <a:rPr lang="en-US"/>
              <a:t>Click to edit Master text styles</a:t>
            </a:r>
          </a:p>
        </p:txBody>
      </p:sp>
      <p:sp>
        <p:nvSpPr>
          <p:cNvPr id="50" name="Text Placeholder 136"/>
          <p:cNvSpPr>
            <a:spLocks noGrp="1"/>
          </p:cNvSpPr>
          <p:nvPr>
            <p:ph type="body" sz="quarter" idx="34"/>
          </p:nvPr>
        </p:nvSpPr>
        <p:spPr>
          <a:xfrm>
            <a:off x="609600" y="5941308"/>
            <a:ext cx="1364901" cy="371386"/>
          </a:xfrm>
        </p:spPr>
        <p:txBody>
          <a:bodyPr lIns="0" tIns="0" rIns="0" bIns="0">
            <a:noAutofit/>
          </a:bodyPr>
          <a:lstStyle>
            <a:lvl1pPr marL="0" marR="0" indent="0" algn="l" defTabSz="913874"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6937" indent="0">
              <a:buNone/>
              <a:defRPr sz="800"/>
            </a:lvl2pPr>
            <a:lvl3pPr marL="913874" indent="0">
              <a:buNone/>
              <a:defRPr sz="800"/>
            </a:lvl3pPr>
            <a:lvl4pPr marL="1370810" indent="0">
              <a:buNone/>
              <a:defRPr sz="800"/>
            </a:lvl4pPr>
            <a:lvl5pPr marL="1827747" indent="0">
              <a:buNone/>
              <a:defRPr sz="800"/>
            </a:lvl5pPr>
          </a:lstStyle>
          <a:p>
            <a:pPr lvl="0"/>
            <a:r>
              <a:rPr lang="en-US"/>
              <a:t>Click to edit Master text styles</a:t>
            </a:r>
          </a:p>
        </p:txBody>
      </p:sp>
    </p:spTree>
    <p:extLst>
      <p:ext uri="{BB962C8B-B14F-4D97-AF65-F5344CB8AC3E}">
        <p14:creationId xmlns:p14="http://schemas.microsoft.com/office/powerpoint/2010/main" val="9994758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amp; body with bullets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ext Placeholder 2">
            <a:extLst>
              <a:ext uri="{FF2B5EF4-FFF2-40B4-BE49-F238E27FC236}">
                <a16:creationId xmlns:a16="http://schemas.microsoft.com/office/drawing/2014/main" id="{0E2CAED3-5C3B-4638-84D2-AFD40B0A6536}"/>
              </a:ext>
            </a:extLst>
          </p:cNvPr>
          <p:cNvSpPr>
            <a:spLocks noGrp="1"/>
          </p:cNvSpPr>
          <p:nvPr>
            <p:ph type="body" sz="quarter" idx="11"/>
          </p:nvPr>
        </p:nvSpPr>
        <p:spPr>
          <a:xfrm>
            <a:off x="436563" y="2376926"/>
            <a:ext cx="4849600" cy="307777"/>
          </a:xfrm>
        </p:spPr>
        <p:txBody>
          <a:bodyPr/>
          <a:lstStyle>
            <a:lvl1pPr algn="l">
              <a:defRPr sz="2000" b="0">
                <a:solidFill>
                  <a:schemeClr val="tx2"/>
                </a:solidFill>
              </a:defRPr>
            </a:lvl1pPr>
          </a:lstStyle>
          <a:p>
            <a:pPr lvl="0"/>
            <a:r>
              <a:rPr lang="en-US"/>
              <a:t>Click to edit Master text styles</a:t>
            </a:r>
          </a:p>
        </p:txBody>
      </p:sp>
      <p:sp>
        <p:nvSpPr>
          <p:cNvPr id="4" name="Title 3">
            <a:extLst>
              <a:ext uri="{FF2B5EF4-FFF2-40B4-BE49-F238E27FC236}">
                <a16:creationId xmlns:a16="http://schemas.microsoft.com/office/drawing/2014/main" id="{E6B7040F-1E2C-4F82-ABB7-F07F089ED8BE}"/>
              </a:ext>
            </a:extLst>
          </p:cNvPr>
          <p:cNvSpPr>
            <a:spLocks noGrp="1"/>
          </p:cNvSpPr>
          <p:nvPr>
            <p:ph type="title"/>
          </p:nvPr>
        </p:nvSpPr>
        <p:spPr>
          <a:xfrm>
            <a:off x="426425" y="1632912"/>
            <a:ext cx="4849473" cy="744014"/>
          </a:xfrm>
        </p:spPr>
        <p:txBody>
          <a:bodyPr anchor="b"/>
          <a:lstStyle>
            <a:lvl1pPr algn="l">
              <a:defRPr/>
            </a:lvl1pPr>
          </a:lstStyle>
          <a:p>
            <a:r>
              <a:rPr lang="en-US"/>
              <a:t>Click to edit Master title style</a:t>
            </a:r>
          </a:p>
        </p:txBody>
      </p:sp>
      <p:sp>
        <p:nvSpPr>
          <p:cNvPr id="5" name="Text Placeholder 4">
            <a:extLst>
              <a:ext uri="{FF2B5EF4-FFF2-40B4-BE49-F238E27FC236}">
                <a16:creationId xmlns:a16="http://schemas.microsoft.com/office/drawing/2014/main" id="{F411E651-2C76-4DFB-BA46-04AC1CE3E4AD}"/>
              </a:ext>
            </a:extLst>
          </p:cNvPr>
          <p:cNvSpPr>
            <a:spLocks noGrp="1"/>
          </p:cNvSpPr>
          <p:nvPr>
            <p:ph type="body" sz="quarter" idx="12"/>
          </p:nvPr>
        </p:nvSpPr>
        <p:spPr>
          <a:xfrm>
            <a:off x="427038" y="3366618"/>
            <a:ext cx="4848969" cy="276999"/>
          </a:xfrm>
        </p:spPr>
        <p:txBody>
          <a:bodyPr/>
          <a:lstStyle>
            <a:lvl1pPr>
              <a:defRPr sz="1800"/>
            </a:lvl1pPr>
          </a:lstStyle>
          <a:p>
            <a:pPr lvl="0"/>
            <a:r>
              <a:rPr lang="en-US"/>
              <a:t>Click to edit Master text styles</a:t>
            </a:r>
          </a:p>
        </p:txBody>
      </p:sp>
    </p:spTree>
    <p:extLst>
      <p:ext uri="{BB962C8B-B14F-4D97-AF65-F5344CB8AC3E}">
        <p14:creationId xmlns:p14="http://schemas.microsoft.com/office/powerpoint/2010/main" val="394700486"/>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pic>
        <p:nvPicPr>
          <p:cNvPr id="4" name="Picture 3"/>
          <p:cNvPicPr>
            <a:picLocks noChangeAspect="1"/>
          </p:cNvPicPr>
          <p:nvPr userDrawn="1"/>
        </p:nvPicPr>
        <p:blipFill>
          <a:blip r:embed="rId3"/>
          <a:stretch>
            <a:fillRect/>
          </a:stretch>
        </p:blipFill>
        <p:spPr>
          <a:xfrm>
            <a:off x="450204" y="3083652"/>
            <a:ext cx="3227129" cy="692057"/>
          </a:xfrm>
          <a:prstGeom prst="rect">
            <a:avLst/>
          </a:prstGeom>
        </p:spPr>
      </p:pic>
      <p:pic>
        <p:nvPicPr>
          <p:cNvPr id="5" name="Picture 4"/>
          <p:cNvPicPr>
            <a:picLocks noChangeAspect="1"/>
          </p:cNvPicPr>
          <p:nvPr userDrawn="1"/>
        </p:nvPicPr>
        <p:blipFill>
          <a:blip r:embed="rId3"/>
          <a:stretch>
            <a:fillRect/>
          </a:stretch>
        </p:blipFill>
        <p:spPr>
          <a:xfrm>
            <a:off x="450204" y="3083652"/>
            <a:ext cx="3227129" cy="692057"/>
          </a:xfrm>
          <a:prstGeom prst="rect">
            <a:avLst/>
          </a:prstGeom>
        </p:spPr>
      </p:pic>
      <p:sp>
        <p:nvSpPr>
          <p:cNvPr id="6" name="Text Box 3"/>
          <p:cNvSpPr txBox="1">
            <a:spLocks noChangeArrowheads="1"/>
          </p:cNvSpPr>
          <p:nvPr userDrawn="1"/>
        </p:nvSpPr>
        <p:spPr bwMode="blackWhite">
          <a:xfrm>
            <a:off x="287916" y="6223194"/>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505050"/>
                    </a:gs>
                    <a:gs pos="100000">
                      <a:srgbClr val="505050"/>
                    </a:gs>
                  </a:gsLst>
                  <a:lin ang="5400000" scaled="0"/>
                </a:gradFill>
                <a:cs typeface="Segoe UI" pitchFamily="34" charset="0"/>
              </a:rPr>
              <a:t>© 2016 Microsoft Corporation. All rights reserved. </a:t>
            </a:r>
          </a:p>
        </p:txBody>
      </p:sp>
    </p:spTree>
    <p:extLst>
      <p:ext uri="{BB962C8B-B14F-4D97-AF65-F5344CB8AC3E}">
        <p14:creationId xmlns:p14="http://schemas.microsoft.com/office/powerpoint/2010/main" val="164121276"/>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1_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solidFill>
                  <a:schemeClr val="tx1">
                    <a:lumMod val="25000"/>
                    <a:lumOff val="75000"/>
                  </a:schemeClr>
                </a:solidFill>
                <a:cs typeface="Segoe UI" pitchFamily="34" charset="0"/>
              </a:rPr>
              <a:t>©</a:t>
            </a:r>
            <a:r>
              <a:rPr lang="en-US" sz="686" baseline="0">
                <a:solidFill>
                  <a:schemeClr val="tx1">
                    <a:lumMod val="25000"/>
                    <a:lumOff val="75000"/>
                  </a:schemeClr>
                </a:solidFill>
                <a:cs typeface="Segoe UI" pitchFamily="34" charset="0"/>
              </a:rPr>
              <a:t> Copyright</a:t>
            </a:r>
            <a:r>
              <a:rPr lang="en-US" sz="686">
                <a:solidFill>
                  <a:schemeClr val="tx1">
                    <a:lumMod val="25000"/>
                    <a:lumOff val="75000"/>
                  </a:schemeClr>
                </a:solidFill>
                <a:cs typeface="Segoe UI" pitchFamily="34" charset="0"/>
              </a:rPr>
              <a:t> Microsoft Corporation. All rights reserved. </a:t>
            </a:r>
          </a:p>
        </p:txBody>
      </p:sp>
      <p:pic>
        <p:nvPicPr>
          <p:cNvPr id="6" name="Picture 5"/>
          <p:cNvPicPr>
            <a:picLocks noChangeAspect="1"/>
          </p:cNvPicPr>
          <p:nvPr/>
        </p:nvPicPr>
        <p:blipFill>
          <a:blip r:embed="rId2"/>
          <a:stretch>
            <a:fillRect/>
          </a:stretch>
        </p:blipFill>
        <p:spPr>
          <a:xfrm>
            <a:off x="12664" y="2679588"/>
            <a:ext cx="4074608" cy="1498825"/>
          </a:xfrm>
          <a:prstGeom prst="rect">
            <a:avLst/>
          </a:prstGeom>
        </p:spPr>
      </p:pic>
    </p:spTree>
    <p:extLst>
      <p:ext uri="{BB962C8B-B14F-4D97-AF65-F5344CB8AC3E}">
        <p14:creationId xmlns:p14="http://schemas.microsoft.com/office/powerpoint/2010/main" val="2786079630"/>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1_Insert Photo">
    <p:spTree>
      <p:nvGrpSpPr>
        <p:cNvPr id="1" name=""/>
        <p:cNvGrpSpPr/>
        <p:nvPr/>
      </p:nvGrpSpPr>
      <p:grpSpPr>
        <a:xfrm>
          <a:off x="0" y="0"/>
          <a:ext cx="0" cy="0"/>
          <a:chOff x="0" y="0"/>
          <a:chExt cx="0" cy="0"/>
        </a:xfrm>
      </p:grpSpPr>
      <p:sp>
        <p:nvSpPr>
          <p:cNvPr id="20" name="Picture Placeholder 144"/>
          <p:cNvSpPr>
            <a:spLocks noGrp="1"/>
          </p:cNvSpPr>
          <p:nvPr>
            <p:ph type="pic" sz="quarter" idx="20"/>
          </p:nvPr>
        </p:nvSpPr>
        <p:spPr>
          <a:xfrm>
            <a:off x="0" y="3"/>
            <a:ext cx="12192000" cy="3428999"/>
          </a:xfrm>
        </p:spPr>
        <p:txBody>
          <a:bodyPr>
            <a:noAutofit/>
          </a:bodyPr>
          <a:lstStyle/>
          <a:p>
            <a:endParaRPr lang="en-US"/>
          </a:p>
        </p:txBody>
      </p:sp>
      <p:sp>
        <p:nvSpPr>
          <p:cNvPr id="21" name="Title 1"/>
          <p:cNvSpPr>
            <a:spLocks noGrp="1"/>
          </p:cNvSpPr>
          <p:nvPr>
            <p:ph type="ctrTitle"/>
          </p:nvPr>
        </p:nvSpPr>
        <p:spPr>
          <a:xfrm>
            <a:off x="609773" y="3446587"/>
            <a:ext cx="10965928" cy="894304"/>
          </a:xfrm>
        </p:spPr>
        <p:txBody>
          <a:bodyPr lIns="0" tIns="0" rIns="0" bIns="0" anchor="ctr">
            <a:noAutofit/>
          </a:bodyPr>
          <a:lstStyle>
            <a:lvl1pPr algn="l">
              <a:defRPr sz="4400" b="0">
                <a:solidFill>
                  <a:schemeClr val="accent1"/>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09602" y="4349484"/>
            <a:ext cx="10966102" cy="1594115"/>
          </a:xfrm>
        </p:spPr>
        <p:txBody>
          <a:bodyPr lIns="0" tIns="0" rIns="0" bIns="0">
            <a:noAutofit/>
          </a:bodyPr>
          <a:lstStyle>
            <a:lvl1pPr marL="0" indent="0">
              <a:lnSpc>
                <a:spcPts val="1800"/>
              </a:lnSpc>
              <a:buNone/>
              <a:defRPr sz="1400">
                <a:solidFill>
                  <a:schemeClr val="tx1"/>
                </a:solidFill>
              </a:defRPr>
            </a:lvl1pPr>
          </a:lstStyle>
          <a:p>
            <a:pPr lvl="0"/>
            <a:r>
              <a:rPr lang="en-US"/>
              <a:t>Click to edit Master text styles</a:t>
            </a:r>
          </a:p>
        </p:txBody>
      </p:sp>
      <p:sp>
        <p:nvSpPr>
          <p:cNvPr id="43" name="Text Placeholder 136"/>
          <p:cNvSpPr>
            <a:spLocks noGrp="1"/>
          </p:cNvSpPr>
          <p:nvPr>
            <p:ph type="body" sz="quarter" idx="27"/>
          </p:nvPr>
        </p:nvSpPr>
        <p:spPr>
          <a:xfrm>
            <a:off x="10210800" y="5941308"/>
            <a:ext cx="1364901" cy="371386"/>
          </a:xfrm>
        </p:spPr>
        <p:txBody>
          <a:bodyPr lIns="0" tIns="0" rIns="0" bIns="0">
            <a:noAutofit/>
          </a:bodyPr>
          <a:lstStyle>
            <a:lvl1pPr marL="0" marR="0" indent="0" algn="l" defTabSz="914049"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4" name="Text Placeholder 136"/>
          <p:cNvSpPr>
            <a:spLocks noGrp="1"/>
          </p:cNvSpPr>
          <p:nvPr>
            <p:ph type="body" sz="quarter" idx="28"/>
          </p:nvPr>
        </p:nvSpPr>
        <p:spPr>
          <a:xfrm>
            <a:off x="8839202" y="5941308"/>
            <a:ext cx="1364901" cy="371386"/>
          </a:xfrm>
        </p:spPr>
        <p:txBody>
          <a:bodyPr lIns="0" tIns="0" rIns="0" bIns="0">
            <a:noAutofit/>
          </a:bodyPr>
          <a:lstStyle>
            <a:lvl1pPr marL="0" marR="0" indent="0" algn="l" defTabSz="914049"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5" name="Text Placeholder 136"/>
          <p:cNvSpPr>
            <a:spLocks noGrp="1"/>
          </p:cNvSpPr>
          <p:nvPr>
            <p:ph type="body" sz="quarter" idx="29"/>
          </p:nvPr>
        </p:nvSpPr>
        <p:spPr>
          <a:xfrm>
            <a:off x="7467602" y="5941308"/>
            <a:ext cx="1364901" cy="371386"/>
          </a:xfrm>
        </p:spPr>
        <p:txBody>
          <a:bodyPr lIns="0" tIns="0" rIns="0" bIns="0">
            <a:noAutofit/>
          </a:bodyPr>
          <a:lstStyle>
            <a:lvl1pPr marL="0" marR="0" indent="0" algn="l" defTabSz="914049"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6" name="Text Placeholder 136"/>
          <p:cNvSpPr>
            <a:spLocks noGrp="1"/>
          </p:cNvSpPr>
          <p:nvPr>
            <p:ph type="body" sz="quarter" idx="30"/>
          </p:nvPr>
        </p:nvSpPr>
        <p:spPr>
          <a:xfrm>
            <a:off x="6096000" y="5941308"/>
            <a:ext cx="1364901" cy="371386"/>
          </a:xfrm>
        </p:spPr>
        <p:txBody>
          <a:bodyPr lIns="0" tIns="0" rIns="0" bIns="0">
            <a:noAutofit/>
          </a:bodyPr>
          <a:lstStyle>
            <a:lvl1pPr marL="0" marR="0" indent="0" algn="l" defTabSz="914049"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7" name="Text Placeholder 136"/>
          <p:cNvSpPr>
            <a:spLocks noGrp="1"/>
          </p:cNvSpPr>
          <p:nvPr>
            <p:ph type="body" sz="quarter" idx="31"/>
          </p:nvPr>
        </p:nvSpPr>
        <p:spPr>
          <a:xfrm>
            <a:off x="4724402" y="5941308"/>
            <a:ext cx="1364901" cy="371386"/>
          </a:xfrm>
        </p:spPr>
        <p:txBody>
          <a:bodyPr lIns="0" tIns="0" rIns="0" bIns="0">
            <a:noAutofit/>
          </a:bodyPr>
          <a:lstStyle>
            <a:lvl1pPr marL="0" marR="0" indent="0" algn="l" defTabSz="914049"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8" name="Text Placeholder 136"/>
          <p:cNvSpPr>
            <a:spLocks noGrp="1"/>
          </p:cNvSpPr>
          <p:nvPr>
            <p:ph type="body" sz="quarter" idx="32"/>
          </p:nvPr>
        </p:nvSpPr>
        <p:spPr>
          <a:xfrm>
            <a:off x="3352800" y="5941308"/>
            <a:ext cx="1364901" cy="371386"/>
          </a:xfrm>
        </p:spPr>
        <p:txBody>
          <a:bodyPr lIns="0" tIns="0" rIns="0" bIns="0">
            <a:noAutofit/>
          </a:bodyPr>
          <a:lstStyle>
            <a:lvl1pPr marL="0" marR="0" indent="0" algn="l" defTabSz="914049"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9" name="Text Placeholder 136"/>
          <p:cNvSpPr>
            <a:spLocks noGrp="1"/>
          </p:cNvSpPr>
          <p:nvPr>
            <p:ph type="body" sz="quarter" idx="33"/>
          </p:nvPr>
        </p:nvSpPr>
        <p:spPr>
          <a:xfrm>
            <a:off x="1981202" y="5941308"/>
            <a:ext cx="1364901" cy="371386"/>
          </a:xfrm>
        </p:spPr>
        <p:txBody>
          <a:bodyPr lIns="0" tIns="0" rIns="0" bIns="0">
            <a:noAutofit/>
          </a:bodyPr>
          <a:lstStyle>
            <a:lvl1pPr marL="0" marR="0" indent="0" algn="l" defTabSz="914049"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0" name="Text Placeholder 136"/>
          <p:cNvSpPr>
            <a:spLocks noGrp="1"/>
          </p:cNvSpPr>
          <p:nvPr>
            <p:ph type="body" sz="quarter" idx="34"/>
          </p:nvPr>
        </p:nvSpPr>
        <p:spPr>
          <a:xfrm>
            <a:off x="609600" y="5941308"/>
            <a:ext cx="1364901" cy="371386"/>
          </a:xfrm>
        </p:spPr>
        <p:txBody>
          <a:bodyPr lIns="0" tIns="0" rIns="0" bIns="0">
            <a:noAutofit/>
          </a:bodyPr>
          <a:lstStyle>
            <a:lvl1pPr marL="0" marR="0" indent="0" algn="l" defTabSz="914049"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Tree>
    <p:extLst>
      <p:ext uri="{BB962C8B-B14F-4D97-AF65-F5344CB8AC3E}">
        <p14:creationId xmlns:p14="http://schemas.microsoft.com/office/powerpoint/2010/main" val="210430459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6534647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05C890-B880-411F-8A30-BA1EB9D962E9}"/>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5D00ACD7-526A-4D5D-8208-BC4826904AA6}"/>
              </a:ext>
            </a:extLst>
          </p:cNvPr>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Tree>
    <p:extLst>
      <p:ext uri="{BB962C8B-B14F-4D97-AF65-F5344CB8AC3E}">
        <p14:creationId xmlns:p14="http://schemas.microsoft.com/office/powerpoint/2010/main" val="145945399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4081535"/>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41402" y="1447799"/>
            <a:ext cx="11151917" cy="2089311"/>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tx1"/>
                </a:solidFill>
              </a:defRPr>
            </a:lvl2pPr>
            <a:lvl3pPr marL="231685" indent="0">
              <a:buNone/>
              <a:defRPr sz="2000">
                <a:solidFill>
                  <a:schemeClr val="tx1"/>
                </a:solidFill>
              </a:defRPr>
            </a:lvl3pPr>
            <a:lvl4pPr marL="457025" indent="0">
              <a:buNone/>
              <a:defRPr sz="2000">
                <a:solidFill>
                  <a:schemeClr val="tx1"/>
                </a:solidFill>
              </a:defRPr>
            </a:lvl4pPr>
            <a:lvl5pPr marL="693471" indent="0">
              <a:buNone/>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12">
              <a:defRPr/>
            </a:pPr>
            <a:fld id="{727B4C2D-45E2-4621-8491-2995EB46A674}" type="slidenum">
              <a:rPr lang="en-US" smtClean="0">
                <a:gradFill>
                  <a:gsLst>
                    <a:gs pos="100000">
                      <a:srgbClr val="F2F2F2"/>
                    </a:gs>
                    <a:gs pos="0">
                      <a:srgbClr val="F2F2F2"/>
                    </a:gs>
                  </a:gsLst>
                  <a:lin ang="5400000" scaled="0"/>
                </a:gradFill>
              </a:rPr>
              <a:pPr defTabSz="914012">
                <a:defRPr/>
              </a:pPr>
              <a:t>‹#›</a:t>
            </a:fld>
            <a:endParaRPr lang="en-US">
              <a:gradFill>
                <a:gsLst>
                  <a:gs pos="100000">
                    <a:srgbClr val="F2F2F2"/>
                  </a:gs>
                  <a:gs pos="0">
                    <a:srgbClr val="F2F2F2"/>
                  </a:gs>
                </a:gsLst>
                <a:lin ang="5400000" scaled="0"/>
              </a:gradFill>
            </a:endParaRPr>
          </a:p>
        </p:txBody>
      </p:sp>
    </p:spTree>
    <p:extLst>
      <p:ext uri="{BB962C8B-B14F-4D97-AF65-F5344CB8AC3E}">
        <p14:creationId xmlns:p14="http://schemas.microsoft.com/office/powerpoint/2010/main" val="603751480"/>
      </p:ext>
    </p:extLst>
  </p:cSld>
  <p:clrMapOvr>
    <a:masterClrMapping/>
  </p:clrMapOvr>
  <p:transition>
    <p:fade/>
  </p:transition>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tx1">
            <a:lumMod val="10000"/>
            <a:lumOff val="90000"/>
          </a:schemeClr>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94E9756-9B6F-4899-A15D-4CACA726BF59}"/>
              </a:ext>
            </a:extLst>
          </p:cNvPr>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a:ext>
            </a:extLst>
          </a:blip>
          <a:srcRect/>
          <a:stretch/>
        </p:blipFill>
        <p:spPr>
          <a:xfrm>
            <a:off x="2" y="-73020"/>
            <a:ext cx="14735915" cy="7308708"/>
          </a:xfrm>
          <a:prstGeom prst="rect">
            <a:avLst/>
          </a:prstGeom>
        </p:spPr>
      </p:pic>
      <p:sp>
        <p:nvSpPr>
          <p:cNvPr id="9" name="Title 1"/>
          <p:cNvSpPr>
            <a:spLocks noGrp="1"/>
          </p:cNvSpPr>
          <p:nvPr>
            <p:ph type="title" hasCustomPrompt="1"/>
          </p:nvPr>
        </p:nvSpPr>
        <p:spPr>
          <a:xfrm>
            <a:off x="604079" y="1643627"/>
            <a:ext cx="9144000" cy="498674"/>
          </a:xfrm>
          <a:noFill/>
        </p:spPr>
        <p:txBody>
          <a:bodyPr lIns="0" tIns="0" rIns="0" bIns="0" anchor="b" anchorCtr="0">
            <a:spAutoFit/>
          </a:bodyPr>
          <a:lstStyle>
            <a:lvl1pPr>
              <a:defRPr sz="3600" spc="-51"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604079" y="2570925"/>
            <a:ext cx="9144000" cy="276999"/>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8" name="Picture 7">
            <a:extLst>
              <a:ext uri="{FF2B5EF4-FFF2-40B4-BE49-F238E27FC236}">
                <a16:creationId xmlns:a16="http://schemas.microsoft.com/office/drawing/2014/main" id="{5768C69D-2FEA-46FC-B8E3-17DFF9D4BE21}"/>
              </a:ext>
            </a:extLst>
          </p:cNvPr>
          <p:cNvPicPr>
            <a:picLocks noChangeAspect="1"/>
          </p:cNvPicPr>
          <p:nvPr userDrawn="1"/>
        </p:nvPicPr>
        <p:blipFill>
          <a:blip r:embed="rId4"/>
          <a:stretch>
            <a:fillRect/>
          </a:stretch>
        </p:blipFill>
        <p:spPr>
          <a:xfrm>
            <a:off x="351364" y="559746"/>
            <a:ext cx="1950640" cy="874291"/>
          </a:xfrm>
          <a:prstGeom prst="rect">
            <a:avLst/>
          </a:prstGeom>
        </p:spPr>
      </p:pic>
    </p:spTree>
    <p:extLst>
      <p:ext uri="{BB962C8B-B14F-4D97-AF65-F5344CB8AC3E}">
        <p14:creationId xmlns:p14="http://schemas.microsoft.com/office/powerpoint/2010/main" val="19431518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05177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40007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userDrawn="1">
  <p:cSld name="FULL BACKGROUND IMAGE">
    <p:bg>
      <p:bgPr>
        <a:solidFill>
          <a:schemeClr val="bg2"/>
        </a:solidFill>
        <a:effectLst/>
      </p:bgPr>
    </p:bg>
    <p:spTree>
      <p:nvGrpSpPr>
        <p:cNvPr id="1" name=""/>
        <p:cNvGrpSpPr/>
        <p:nvPr/>
      </p:nvGrpSpPr>
      <p:grpSpPr>
        <a:xfrm>
          <a:off x="0" y="0"/>
          <a:ext cx="0" cy="0"/>
          <a:chOff x="0" y="0"/>
          <a:chExt cx="0" cy="0"/>
        </a:xfrm>
      </p:grpSpPr>
      <p:sp>
        <p:nvSpPr>
          <p:cNvPr id="2" name="Picture Placeholder 2"/>
          <p:cNvSpPr>
            <a:spLocks noGrp="1"/>
          </p:cNvSpPr>
          <p:nvPr>
            <p:ph type="pic" sz="quarter" idx="12"/>
          </p:nvPr>
        </p:nvSpPr>
        <p:spPr>
          <a:xfrm>
            <a:off x="0" y="2"/>
            <a:ext cx="12192000" cy="723994"/>
          </a:xfrm>
          <a:prstGeom prst="rect">
            <a:avLst/>
          </a:prstGeom>
        </p:spPr>
        <p:txBody>
          <a:bodyPr/>
          <a:lstStyle/>
          <a:p>
            <a:endParaRPr lang="uk-UA"/>
          </a:p>
        </p:txBody>
      </p:sp>
    </p:spTree>
    <p:extLst>
      <p:ext uri="{BB962C8B-B14F-4D97-AF65-F5344CB8AC3E}">
        <p14:creationId xmlns:p14="http://schemas.microsoft.com/office/powerpoint/2010/main" val="3255891507"/>
      </p:ext>
    </p:extLst>
  </p:cSld>
  <p:clrMapOvr>
    <a:masterClrMapping/>
  </p:clrMapOvr>
  <p:transition spd="slow">
    <p:fade/>
  </p:transition>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mp; body with bullets slid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4" name="Title 3">
            <a:extLst>
              <a:ext uri="{FF2B5EF4-FFF2-40B4-BE49-F238E27FC236}">
                <a16:creationId xmlns:a16="http://schemas.microsoft.com/office/drawing/2014/main" id="{E6B7040F-1E2C-4F82-ABB7-F07F089ED8BE}"/>
              </a:ext>
            </a:extLst>
          </p:cNvPr>
          <p:cNvSpPr>
            <a:spLocks noGrp="1"/>
          </p:cNvSpPr>
          <p:nvPr>
            <p:ph type="title"/>
          </p:nvPr>
        </p:nvSpPr>
        <p:spPr>
          <a:xfrm>
            <a:off x="426425" y="1632912"/>
            <a:ext cx="4849473" cy="744014"/>
          </a:xfrm>
        </p:spPr>
        <p:txBody>
          <a:bodyPr anchor="b"/>
          <a:lstStyle>
            <a:lvl1pPr algn="l">
              <a:defRPr/>
            </a:lvl1pPr>
          </a:lstStyle>
          <a:p>
            <a:r>
              <a:rPr lang="en-US"/>
              <a:t>Click to edit Master title style</a:t>
            </a:r>
          </a:p>
        </p:txBody>
      </p:sp>
      <p:sp>
        <p:nvSpPr>
          <p:cNvPr id="5" name="Text Placeholder 4">
            <a:extLst>
              <a:ext uri="{FF2B5EF4-FFF2-40B4-BE49-F238E27FC236}">
                <a16:creationId xmlns:a16="http://schemas.microsoft.com/office/drawing/2014/main" id="{F411E651-2C76-4DFB-BA46-04AC1CE3E4AD}"/>
              </a:ext>
            </a:extLst>
          </p:cNvPr>
          <p:cNvSpPr>
            <a:spLocks noGrp="1"/>
          </p:cNvSpPr>
          <p:nvPr>
            <p:ph type="body" sz="quarter" idx="12"/>
          </p:nvPr>
        </p:nvSpPr>
        <p:spPr>
          <a:xfrm>
            <a:off x="427038" y="2520564"/>
            <a:ext cx="4848969" cy="276999"/>
          </a:xfrm>
        </p:spPr>
        <p:txBody>
          <a:bodyPr/>
          <a:lstStyle>
            <a:lvl1pPr>
              <a:defRPr sz="1800">
                <a:solidFill>
                  <a:schemeClr val="tx1"/>
                </a:solidFill>
              </a:defRPr>
            </a:lvl1pPr>
          </a:lstStyle>
          <a:p>
            <a:pPr lvl="0"/>
            <a:r>
              <a:rPr lang="en-US"/>
              <a:t>Click to edit Master text styles</a:t>
            </a:r>
          </a:p>
        </p:txBody>
      </p:sp>
      <p:sp>
        <p:nvSpPr>
          <p:cNvPr id="2" name="Rectangle 1">
            <a:extLst>
              <a:ext uri="{FF2B5EF4-FFF2-40B4-BE49-F238E27FC236}">
                <a16:creationId xmlns:a16="http://schemas.microsoft.com/office/drawing/2014/main" id="{5731DF0C-E1D2-4C63-820D-7F99D19CEE0E}"/>
              </a:ext>
            </a:extLst>
          </p:cNvPr>
          <p:cNvSpPr/>
          <p:nvPr userDrawn="1"/>
        </p:nvSpPr>
        <p:spPr bwMode="auto">
          <a:xfrm>
            <a:off x="5645426" y="0"/>
            <a:ext cx="6546574" cy="68580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2400" b="0" i="0" u="none" strike="noStrike" kern="0" cap="none" spc="0" normalizeH="0" baseline="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2403263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05C890-B880-411F-8A30-BA1EB9D962E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D00ACD7-526A-4D5D-8208-BC4826904AA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3597169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694849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41402" y="1447799"/>
            <a:ext cx="11151917" cy="2089311"/>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tx1"/>
                </a:solidFill>
              </a:defRPr>
            </a:lvl2pPr>
            <a:lvl3pPr marL="231730" indent="0">
              <a:buNone/>
              <a:defRPr sz="2000">
                <a:solidFill>
                  <a:schemeClr val="tx1"/>
                </a:solidFill>
              </a:defRPr>
            </a:lvl3pPr>
            <a:lvl4pPr marL="457112" indent="0">
              <a:buNone/>
              <a:defRPr sz="2000">
                <a:solidFill>
                  <a:schemeClr val="tx1"/>
                </a:solidFill>
              </a:defRPr>
            </a:lvl4pPr>
            <a:lvl5pPr marL="693604" indent="0">
              <a:buNone/>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188">
              <a:defRPr/>
            </a:pPr>
            <a:fld id="{727B4C2D-45E2-4621-8491-2995EB46A674}" type="slidenum">
              <a:rPr lang="en-US" smtClean="0">
                <a:gradFill>
                  <a:gsLst>
                    <a:gs pos="100000">
                      <a:srgbClr val="F2F2F2"/>
                    </a:gs>
                    <a:gs pos="0">
                      <a:srgbClr val="F2F2F2"/>
                    </a:gs>
                  </a:gsLst>
                  <a:lin ang="5400000" scaled="0"/>
                </a:gradFill>
              </a:rPr>
              <a:pPr defTabSz="914188">
                <a:defRPr/>
              </a:pPr>
              <a:t>‹#›</a:t>
            </a:fld>
            <a:endParaRPr lang="en-US">
              <a:gradFill>
                <a:gsLst>
                  <a:gs pos="100000">
                    <a:srgbClr val="F2F2F2"/>
                  </a:gs>
                  <a:gs pos="0">
                    <a:srgbClr val="F2F2F2"/>
                  </a:gs>
                </a:gsLst>
                <a:lin ang="5400000" scaled="0"/>
              </a:gradFill>
            </a:endParaRPr>
          </a:p>
        </p:txBody>
      </p:sp>
    </p:spTree>
    <p:extLst>
      <p:ext uri="{BB962C8B-B14F-4D97-AF65-F5344CB8AC3E}">
        <p14:creationId xmlns:p14="http://schemas.microsoft.com/office/powerpoint/2010/main" val="994669464"/>
      </p:ext>
    </p:extLst>
  </p:cSld>
  <p:clrMapOvr>
    <a:masterClrMapping/>
  </p:clrMapOvr>
  <p:transition>
    <p:fade/>
  </p:transition>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tx1">
            <a:lumMod val="10000"/>
            <a:lumOff val="90000"/>
          </a:schemeClr>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94E9756-9B6F-4899-A15D-4CACA726BF59}"/>
              </a:ext>
            </a:extLst>
          </p:cNvPr>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a:ext>
            </a:extLst>
          </a:blip>
          <a:srcRect/>
          <a:stretch/>
        </p:blipFill>
        <p:spPr>
          <a:xfrm>
            <a:off x="1" y="-73021"/>
            <a:ext cx="14735915" cy="7308708"/>
          </a:xfrm>
          <a:prstGeom prst="rect">
            <a:avLst/>
          </a:prstGeom>
        </p:spPr>
      </p:pic>
      <p:sp>
        <p:nvSpPr>
          <p:cNvPr id="9" name="Title 1"/>
          <p:cNvSpPr>
            <a:spLocks noGrp="1"/>
          </p:cNvSpPr>
          <p:nvPr>
            <p:ph type="title" hasCustomPrompt="1"/>
          </p:nvPr>
        </p:nvSpPr>
        <p:spPr>
          <a:xfrm>
            <a:off x="604079" y="1588301"/>
            <a:ext cx="9144000" cy="553999"/>
          </a:xfrm>
          <a:noFill/>
        </p:spPr>
        <p:txBody>
          <a:bodyPr lIns="0" tIns="0" rIns="0" bIns="0" anchor="b" anchorCtr="0">
            <a:spAutoFit/>
          </a:bodyPr>
          <a:lstStyle>
            <a:lvl1pPr>
              <a:defRPr sz="3600" spc="-51"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604079" y="2570924"/>
            <a:ext cx="9144000" cy="307777"/>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8" name="Picture 7">
            <a:extLst>
              <a:ext uri="{FF2B5EF4-FFF2-40B4-BE49-F238E27FC236}">
                <a16:creationId xmlns:a16="http://schemas.microsoft.com/office/drawing/2014/main" id="{5768C69D-2FEA-46FC-B8E3-17DFF9D4BE21}"/>
              </a:ext>
            </a:extLst>
          </p:cNvPr>
          <p:cNvPicPr>
            <a:picLocks noChangeAspect="1"/>
          </p:cNvPicPr>
          <p:nvPr userDrawn="1"/>
        </p:nvPicPr>
        <p:blipFill>
          <a:blip r:embed="rId4"/>
          <a:stretch>
            <a:fillRect/>
          </a:stretch>
        </p:blipFill>
        <p:spPr>
          <a:xfrm>
            <a:off x="351364" y="559745"/>
            <a:ext cx="1950640" cy="874291"/>
          </a:xfrm>
          <a:prstGeom prst="rect">
            <a:avLst/>
          </a:prstGeom>
        </p:spPr>
      </p:pic>
    </p:spTree>
    <p:extLst>
      <p:ext uri="{BB962C8B-B14F-4D97-AF65-F5344CB8AC3E}">
        <p14:creationId xmlns:p14="http://schemas.microsoft.com/office/powerpoint/2010/main" val="33207047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274990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userDrawn="1">
  <p:cSld name="FULL BACKGROUND IMAGE">
    <p:bg>
      <p:bgPr>
        <a:solidFill>
          <a:schemeClr val="bg2"/>
        </a:solidFill>
        <a:effectLst/>
      </p:bgPr>
    </p:bg>
    <p:spTree>
      <p:nvGrpSpPr>
        <p:cNvPr id="1" name=""/>
        <p:cNvGrpSpPr/>
        <p:nvPr/>
      </p:nvGrpSpPr>
      <p:grpSpPr>
        <a:xfrm>
          <a:off x="0" y="0"/>
          <a:ext cx="0" cy="0"/>
          <a:chOff x="0" y="0"/>
          <a:chExt cx="0" cy="0"/>
        </a:xfrm>
      </p:grpSpPr>
      <p:sp>
        <p:nvSpPr>
          <p:cNvPr id="2" name="Picture Placeholder 2"/>
          <p:cNvSpPr>
            <a:spLocks noGrp="1"/>
          </p:cNvSpPr>
          <p:nvPr>
            <p:ph type="pic" sz="quarter" idx="12"/>
          </p:nvPr>
        </p:nvSpPr>
        <p:spPr>
          <a:xfrm>
            <a:off x="0" y="1"/>
            <a:ext cx="12192000" cy="6858000"/>
          </a:xfrm>
          <a:prstGeom prst="rect">
            <a:avLst/>
          </a:prstGeom>
        </p:spPr>
        <p:txBody>
          <a:bodyPr/>
          <a:lstStyle/>
          <a:p>
            <a:endParaRPr lang="uk-UA"/>
          </a:p>
        </p:txBody>
      </p:sp>
    </p:spTree>
    <p:extLst>
      <p:ext uri="{BB962C8B-B14F-4D97-AF65-F5344CB8AC3E}">
        <p14:creationId xmlns:p14="http://schemas.microsoft.com/office/powerpoint/2010/main" val="3968697658"/>
      </p:ext>
    </p:extLst>
  </p:cSld>
  <p:clrMapOvr>
    <a:masterClrMapping/>
  </p:clrMapOvr>
  <p:transition spd="slow">
    <p:fade/>
  </p:transition>
  <p:hf sldNum="0" hdr="0" ftr="0" dt="0"/>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03158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1" y="2425780"/>
            <a:ext cx="4742543" cy="1107996"/>
          </a:xfrm>
          <a:noFill/>
        </p:spPr>
        <p:txBody>
          <a:bodyPr wrap="square"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0"/>
            <a:ext cx="474254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Picture 5">
            <a:extLst>
              <a:ext uri="{FF2B5EF4-FFF2-40B4-BE49-F238E27FC236}">
                <a16:creationId xmlns:a16="http://schemas.microsoft.com/office/drawing/2014/main" id="{4AB7EC70-616F-41CC-B70B-6F78E9A918DC}"/>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l="14729" r="32229"/>
          <a:stretch/>
        </p:blipFill>
        <p:spPr>
          <a:xfrm>
            <a:off x="5718629" y="0"/>
            <a:ext cx="6473370" cy="6858000"/>
          </a:xfrm>
          <a:prstGeom prst="rect">
            <a:avLst/>
          </a:prstGeom>
        </p:spPr>
      </p:pic>
    </p:spTree>
    <p:extLst>
      <p:ext uri="{BB962C8B-B14F-4D97-AF65-F5344CB8AC3E}">
        <p14:creationId xmlns:p14="http://schemas.microsoft.com/office/powerpoint/2010/main" val="1174927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1270887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32037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2B1BCAC9-E25C-4A29-A7D2-82C7DE406CE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55027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69382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26986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51959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38120057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solidFill>
                  <a:schemeClr val="tx1"/>
                </a:solidFill>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829962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7996"/>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356100" y="2447039"/>
            <a:ext cx="7251192" cy="369332"/>
          </a:xfrm>
        </p:spPr>
        <p:txBody>
          <a:bodyPr/>
          <a:lstStyle>
            <a:lvl1pPr marL="0" indent="0">
              <a:spcAft>
                <a:spcPts val="1200"/>
              </a:spcAft>
              <a:buNone/>
              <a:defRPr sz="2400"/>
            </a:lvl1pPr>
            <a:lvl2pPr marL="228556"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p:nvCxnSpPr>
        <p:spPr>
          <a:xfrm>
            <a:off x="4356100" y="2017713"/>
            <a:ext cx="72532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37422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5ACBF0"/>
          </p15:clr>
        </p15:guide>
        <p15:guide id="13" pos="2744">
          <p15:clr>
            <a:srgbClr val="5ACBF0"/>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2" orient="horz" pos="1728">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bwMode="auto">
          <a:xfrm>
            <a:off x="588264" y="3179701"/>
            <a:ext cx="3182621" cy="498598"/>
          </a:xfrm>
          <a:noFill/>
        </p:spPr>
        <p:txBody>
          <a:bodyPr vert="horz" wrap="square" lIns="0" tIns="0" rIns="0" bIns="0" rtlCol="0" anchor="ctr" anchorCtr="0">
            <a:spAutoFit/>
          </a:bodyPr>
          <a:lstStyle>
            <a:lvl1pPr>
              <a:defRPr lang="en-US" dirty="0">
                <a:solidFill>
                  <a:srgbClr val="FFFFFF"/>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4" y="3213558"/>
            <a:ext cx="6599409" cy="430887"/>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Tree>
    <p:extLst>
      <p:ext uri="{BB962C8B-B14F-4D97-AF65-F5344CB8AC3E}">
        <p14:creationId xmlns:p14="http://schemas.microsoft.com/office/powerpoint/2010/main" val="24783760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588264" y="3179701"/>
            <a:ext cx="3182621" cy="498598"/>
          </a:xfrm>
          <a:noFill/>
        </p:spPr>
        <p:txBody>
          <a:bodyPr vert="horz" wrap="square" lIns="0" tIns="0" rIns="0" bIns="0" rtlCol="0" anchor="ctr" anchorCtr="0">
            <a:spAutoFit/>
          </a:bodyPr>
          <a:lstStyle>
            <a:lvl1pPr>
              <a:defRPr lang="en-US" dirty="0">
                <a:solidFill>
                  <a:schemeClr val="tx1"/>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4" y="3213558"/>
            <a:ext cx="6599409" cy="430887"/>
          </a:xfrm>
        </p:spPr>
        <p:txBody>
          <a:bodyPr anchor="ctr" anchorCtr="0">
            <a:spAutoFit/>
          </a:bodyPr>
          <a:lstStyle>
            <a:lvl1pPr marL="0" indent="0">
              <a:spcAft>
                <a:spcPts val="1200"/>
              </a:spcAft>
              <a:buNone/>
              <a:defRPr sz="2800"/>
            </a:lvl1pPr>
            <a:lvl2pPr marL="228556" indent="0">
              <a:buNone/>
              <a:defRPr/>
            </a:lvl2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11933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02644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0237276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entered title">
    <p:bg>
      <p:bgRef idx="1001">
        <a:schemeClr val="bg1"/>
      </p:bgRef>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0E08E74-8857-4FE4-841F-CFB1E7EE476D}"/>
              </a:ext>
            </a:extLst>
          </p:cNvPr>
          <p:cNvSpPr>
            <a:spLocks noGrp="1"/>
          </p:cNvSpPr>
          <p:nvPr>
            <p:ph type="pic" sz="quarter" idx="10"/>
          </p:nvPr>
        </p:nvSpPr>
        <p:spPr>
          <a:xfrm>
            <a:off x="0" y="0"/>
            <a:ext cx="12192000" cy="6858000"/>
          </a:xfrm>
        </p:spPr>
        <p:txBody>
          <a:bodyPr/>
          <a:lstStyle/>
          <a:p>
            <a:endParaRPr lang="en-US"/>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itle 2">
            <a:extLst>
              <a:ext uri="{FF2B5EF4-FFF2-40B4-BE49-F238E27FC236}">
                <a16:creationId xmlns:a16="http://schemas.microsoft.com/office/drawing/2014/main" id="{2E9FF2B1-4069-4221-9710-D69E1E72F4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43758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199901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628854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436632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44413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088658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029615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5832080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30829772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3_Title Slide">
    <p:bg>
      <p:bgPr>
        <a:solidFill>
          <a:srgbClr val="0000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615553"/>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br>
              <a:rPr lang="en-US"/>
            </a:br>
            <a:r>
              <a:rPr lang="en-US"/>
              <a:t>Date</a:t>
            </a:r>
          </a:p>
        </p:txBody>
      </p:sp>
      <p:pic>
        <p:nvPicPr>
          <p:cNvPr id="6" name="Picture 5">
            <a:extLst>
              <a:ext uri="{FF2B5EF4-FFF2-40B4-BE49-F238E27FC236}">
                <a16:creationId xmlns:a16="http://schemas.microsoft.com/office/drawing/2014/main" id="{A4234E39-95B3-43C8-A7BD-B3527AA0EC7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93688" y="292100"/>
            <a:ext cx="2199424" cy="866849"/>
          </a:xfrm>
          <a:prstGeom prst="rect">
            <a:avLst/>
          </a:prstGeom>
        </p:spPr>
      </p:pic>
      <p:sp>
        <p:nvSpPr>
          <p:cNvPr id="7" name="Picture Placeholder 3">
            <a:extLst>
              <a:ext uri="{FF2B5EF4-FFF2-40B4-BE49-F238E27FC236}">
                <a16:creationId xmlns:a16="http://schemas.microsoft.com/office/drawing/2014/main" id="{DE1379DF-5F6E-4CF2-BD0F-D309202810C7}"/>
              </a:ext>
            </a:extLst>
          </p:cNvPr>
          <p:cNvSpPr>
            <a:spLocks noGrp="1"/>
          </p:cNvSpPr>
          <p:nvPr>
            <p:ph type="pic" sz="quarter" idx="13" hasCustomPrompt="1"/>
          </p:nvPr>
        </p:nvSpPr>
        <p:spPr>
          <a:xfrm>
            <a:off x="9323388" y="560901"/>
            <a:ext cx="2286000" cy="914400"/>
          </a:xfrm>
        </p:spPr>
        <p:txBody>
          <a:bodyPr anchor="ctr"/>
          <a:lstStyle>
            <a:lvl1pPr marL="0" indent="0" algn="ctr">
              <a:buNone/>
              <a:defRPr sz="2000"/>
            </a:lvl1pPr>
          </a:lstStyle>
          <a:p>
            <a:r>
              <a:rPr lang="en-US"/>
              <a:t>Insert Company Logo</a:t>
            </a:r>
          </a:p>
        </p:txBody>
      </p:sp>
    </p:spTree>
    <p:extLst>
      <p:ext uri="{BB962C8B-B14F-4D97-AF65-F5344CB8AC3E}">
        <p14:creationId xmlns:p14="http://schemas.microsoft.com/office/powerpoint/2010/main" val="20789827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17930348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entered titl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6" name="Text Placeholder 3">
            <a:extLst>
              <a:ext uri="{FF2B5EF4-FFF2-40B4-BE49-F238E27FC236}">
                <a16:creationId xmlns:a16="http://schemas.microsoft.com/office/drawing/2014/main" id="{46D5CA40-70C7-4A1C-B384-2480C774F805}"/>
              </a:ext>
            </a:extLst>
          </p:cNvPr>
          <p:cNvSpPr>
            <a:spLocks noGrp="1"/>
          </p:cNvSpPr>
          <p:nvPr>
            <p:ph type="body" sz="quarter" idx="10"/>
          </p:nvPr>
        </p:nvSpPr>
        <p:spPr>
          <a:xfrm>
            <a:off x="955137" y="3666511"/>
            <a:ext cx="2906202" cy="2328843"/>
          </a:xfrm>
        </p:spPr>
        <p:txBody>
          <a:bodyPr/>
          <a:lstStyle>
            <a:lvl1pPr algn="ctr">
              <a:defRPr sz="1800" b="1"/>
            </a:lvl1pPr>
            <a:lvl2pPr algn="ctr">
              <a:defRPr sz="1800"/>
            </a:lvl2pPr>
            <a:lvl3pPr algn="ctr">
              <a:defRPr sz="1800"/>
            </a:lvl3pPr>
            <a:lvl4pPr algn="ctr">
              <a:defRPr sz="1800"/>
            </a:lvl4pPr>
            <a:lvl5pPr algn="ct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6C193B7C-46E8-4864-8C8F-DCFBB84FD29C}"/>
              </a:ext>
            </a:extLst>
          </p:cNvPr>
          <p:cNvSpPr>
            <a:spLocks noGrp="1"/>
          </p:cNvSpPr>
          <p:nvPr>
            <p:ph type="body" sz="quarter" idx="15"/>
          </p:nvPr>
        </p:nvSpPr>
        <p:spPr>
          <a:xfrm>
            <a:off x="4622531" y="3666511"/>
            <a:ext cx="2906202" cy="2328843"/>
          </a:xfrm>
        </p:spPr>
        <p:txBody>
          <a:bodyPr/>
          <a:lstStyle>
            <a:lvl1pPr algn="ctr">
              <a:defRPr sz="1800" b="1"/>
            </a:lvl1pPr>
            <a:lvl2pPr algn="ctr">
              <a:defRPr sz="1800"/>
            </a:lvl2pPr>
            <a:lvl3pPr algn="ctr">
              <a:defRPr sz="1800"/>
            </a:lvl3pPr>
            <a:lvl4pPr algn="ctr">
              <a:defRPr sz="1800"/>
            </a:lvl4pPr>
            <a:lvl5pPr algn="ct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C3F483A0-101C-4129-B649-D1EAF42C736F}"/>
              </a:ext>
            </a:extLst>
          </p:cNvPr>
          <p:cNvSpPr>
            <a:spLocks noGrp="1"/>
          </p:cNvSpPr>
          <p:nvPr>
            <p:ph type="body" sz="quarter" idx="16"/>
          </p:nvPr>
        </p:nvSpPr>
        <p:spPr>
          <a:xfrm>
            <a:off x="8289925" y="3666511"/>
            <a:ext cx="2906202" cy="2328843"/>
          </a:xfrm>
        </p:spPr>
        <p:txBody>
          <a:bodyPr/>
          <a:lstStyle>
            <a:lvl1pPr algn="ctr">
              <a:defRPr sz="1800" b="1"/>
            </a:lvl1pPr>
            <a:lvl2pPr algn="ctr">
              <a:defRPr sz="1800"/>
            </a:lvl2pPr>
            <a:lvl3pPr algn="ctr">
              <a:defRPr sz="1800"/>
            </a:lvl3pPr>
            <a:lvl4pPr algn="ctr">
              <a:defRPr sz="1800"/>
            </a:lvl4pPr>
            <a:lvl5pPr algn="ct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3361B624-27BB-44D9-BCFD-9A2B714304E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4141767"/>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solidFill>
                  <a:schemeClr val="tx1"/>
                </a:solidFill>
                <a:latin typeface="+mn-lt"/>
              </a:defRPr>
            </a:lvl1pPr>
          </a:lstStyle>
          <a:p>
            <a:pPr lvl="0"/>
            <a:r>
              <a:rPr lang="en-US"/>
              <a:t>Speaker name</a:t>
            </a:r>
          </a:p>
        </p:txBody>
      </p:sp>
      <p:pic>
        <p:nvPicPr>
          <p:cNvPr id="17" name="MS logo gray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2156318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7170" name="Picture 2" descr="Business chart with glowing arrows and world map royalty-free stock photo">
            <a:extLst>
              <a:ext uri="{FF2B5EF4-FFF2-40B4-BE49-F238E27FC236}">
                <a16:creationId xmlns:a16="http://schemas.microsoft.com/office/drawing/2014/main" id="{ACC9FB15-7827-4A83-B89C-3DC307DFB3AF}"/>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b="15676"/>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bwMode="auto">
          <a:xfrm>
            <a:off x="1" y="0"/>
            <a:ext cx="8205112" cy="6858000"/>
          </a:xfrm>
          <a:prstGeom prst="rect">
            <a:avLst/>
          </a:prstGeom>
          <a:gradFill flip="none" rotWithShape="1">
            <a:gsLst>
              <a:gs pos="22000">
                <a:srgbClr val="000000">
                  <a:alpha val="49000"/>
                </a:srgbClr>
              </a:gs>
              <a:gs pos="89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bg1"/>
                </a:solidFill>
                <a:latin typeface="+mn-lt"/>
              </a:defRPr>
            </a:lvl1pPr>
          </a:lstStyle>
          <a:p>
            <a:pPr lvl="0"/>
            <a:r>
              <a:rPr lang="en-US"/>
              <a:t>Speaker name</a:t>
            </a:r>
          </a:p>
        </p:txBody>
      </p:sp>
      <p:pic>
        <p:nvPicPr>
          <p:cNvPr id="8" name="MS logo white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3117473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3_Title with photo and tile">
    <p:spTree>
      <p:nvGrpSpPr>
        <p:cNvPr id="1" name=""/>
        <p:cNvGrpSpPr/>
        <p:nvPr/>
      </p:nvGrpSpPr>
      <p:grpSpPr>
        <a:xfrm>
          <a:off x="0" y="0"/>
          <a:ext cx="0" cy="0"/>
          <a:chOff x="0" y="0"/>
          <a:chExt cx="0" cy="0"/>
        </a:xfrm>
      </p:grpSpPr>
      <p:pic>
        <p:nvPicPr>
          <p:cNvPr id="6146" name="Picture 2" descr="Stock Market analyze with iPad royalty-free stock photo">
            <a:extLst>
              <a:ext uri="{FF2B5EF4-FFF2-40B4-BE49-F238E27FC236}">
                <a16:creationId xmlns:a16="http://schemas.microsoft.com/office/drawing/2014/main" id="{7664B41F-1200-40BA-B6A3-59CEF9883655}"/>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b="15386"/>
          <a:stretch/>
        </p:blipFill>
        <p:spPr bwMode="auto">
          <a:xfrm>
            <a:off x="6395" y="0"/>
            <a:ext cx="12185605"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bwMode="auto">
          <a:xfrm>
            <a:off x="1" y="0"/>
            <a:ext cx="8205112" cy="6858000"/>
          </a:xfrm>
          <a:prstGeom prst="rect">
            <a:avLst/>
          </a:prstGeom>
          <a:gradFill flip="none" rotWithShape="1">
            <a:gsLst>
              <a:gs pos="22000">
                <a:srgbClr val="000000">
                  <a:alpha val="49000"/>
                </a:srgbClr>
              </a:gs>
              <a:gs pos="89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bg1"/>
                </a:solidFill>
                <a:latin typeface="+mn-lt"/>
              </a:defRPr>
            </a:lvl1pPr>
          </a:lstStyle>
          <a:p>
            <a:pPr lvl="0"/>
            <a:r>
              <a:rPr lang="en-US"/>
              <a:t>Speaker name</a:t>
            </a:r>
          </a:p>
        </p:txBody>
      </p:sp>
      <p:pic>
        <p:nvPicPr>
          <p:cNvPr id="8" name="MS logo white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3213761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4_Title with photo and ti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39964D2-24DD-4024-85CF-B3CC49B7A141}"/>
              </a:ext>
            </a:extLst>
          </p:cNvPr>
          <p:cNvPicPr>
            <a:picLocks noChangeAspect="1"/>
          </p:cNvPicPr>
          <p:nvPr userDrawn="1"/>
        </p:nvPicPr>
        <p:blipFill rotWithShape="1">
          <a:blip r:embed="rId2"/>
          <a:srcRect b="15616"/>
          <a:stretch/>
        </p:blipFill>
        <p:spPr>
          <a:xfrm>
            <a:off x="1" y="0"/>
            <a:ext cx="12191999" cy="6858000"/>
          </a:xfrm>
          <a:prstGeom prst="rect">
            <a:avLst/>
          </a:prstGeom>
        </p:spPr>
      </p:pic>
      <p:sp>
        <p:nvSpPr>
          <p:cNvPr id="10" name="Rectangle 9"/>
          <p:cNvSpPr/>
          <p:nvPr userDrawn="1"/>
        </p:nvSpPr>
        <p:spPr bwMode="auto">
          <a:xfrm>
            <a:off x="1" y="0"/>
            <a:ext cx="8205112" cy="6858000"/>
          </a:xfrm>
          <a:prstGeom prst="rect">
            <a:avLst/>
          </a:prstGeom>
          <a:gradFill flip="none" rotWithShape="1">
            <a:gsLst>
              <a:gs pos="22000">
                <a:srgbClr val="000000">
                  <a:alpha val="49000"/>
                </a:srgbClr>
              </a:gs>
              <a:gs pos="89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bg1"/>
                </a:solidFill>
                <a:latin typeface="+mn-lt"/>
              </a:defRPr>
            </a:lvl1pPr>
          </a:lstStyle>
          <a:p>
            <a:pPr lvl="0"/>
            <a:r>
              <a:rPr lang="en-US"/>
              <a:t>Speaker name</a:t>
            </a:r>
          </a:p>
        </p:txBody>
      </p:sp>
      <p:pic>
        <p:nvPicPr>
          <p:cNvPr id="8" name="MS logo white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3596395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5_Title with photo and til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0" name="Rectangle 9"/>
          <p:cNvSpPr/>
          <p:nvPr userDrawn="1"/>
        </p:nvSpPr>
        <p:spPr bwMode="auto">
          <a:xfrm>
            <a:off x="1" y="0"/>
            <a:ext cx="8205112" cy="6858000"/>
          </a:xfrm>
          <a:prstGeom prst="rect">
            <a:avLst/>
          </a:prstGeom>
          <a:gradFill flip="none" rotWithShape="1">
            <a:gsLst>
              <a:gs pos="22000">
                <a:srgbClr val="000000">
                  <a:alpha val="49000"/>
                </a:srgbClr>
              </a:gs>
              <a:gs pos="89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bg1"/>
                </a:solidFill>
                <a:latin typeface="+mn-lt"/>
              </a:defRPr>
            </a:lvl1pPr>
          </a:lstStyle>
          <a:p>
            <a:pPr lvl="0"/>
            <a:r>
              <a:rPr lang="en-US"/>
              <a:t>Speaker name</a:t>
            </a:r>
          </a:p>
        </p:txBody>
      </p:sp>
      <p:pic>
        <p:nvPicPr>
          <p:cNvPr id="8" name="MS logo white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962832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_Title with photo and tile">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bwMode="auto">
          <a:xfrm>
            <a:off x="2" y="0"/>
            <a:ext cx="6912430" cy="6858000"/>
          </a:xfrm>
          <a:prstGeom prst="rect">
            <a:avLst/>
          </a:prstGeom>
          <a:gradFill flip="none" rotWithShape="1">
            <a:gsLst>
              <a:gs pos="22000">
                <a:srgbClr val="000000">
                  <a:alpha val="47000"/>
                </a:srgbClr>
              </a:gs>
              <a:gs pos="89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bg1"/>
                </a:solidFill>
                <a:latin typeface="+mn-lt"/>
              </a:defRPr>
            </a:lvl1pPr>
          </a:lstStyle>
          <a:p>
            <a:pPr lvl="0"/>
            <a:r>
              <a:rPr lang="en-US"/>
              <a:t>Speaker name</a:t>
            </a:r>
          </a:p>
        </p:txBody>
      </p:sp>
      <p:pic>
        <p:nvPicPr>
          <p:cNvPr id="8" name="MS logo white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3629189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21157647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5333418" y="-2839"/>
            <a:ext cx="6856854" cy="6858000"/>
          </a:xfrm>
          <a:prstGeom prst="rect">
            <a:avLst/>
          </a:prstGeom>
        </p:spPr>
      </p:pic>
    </p:spTree>
    <p:extLst>
      <p:ext uri="{BB962C8B-B14F-4D97-AF65-F5344CB8AC3E}">
        <p14:creationId xmlns:p14="http://schemas.microsoft.com/office/powerpoint/2010/main" val="670932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1605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7998906"/>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205105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A74E2C5-1831-4959-9C27-E60BEA8F309A}"/>
              </a:ext>
            </a:extLst>
          </p:cNvPr>
          <p:cNvSpPr>
            <a:spLocks noGrp="1"/>
          </p:cNvSpPr>
          <p:nvPr>
            <p:ph type="body" sz="quarter" idx="10"/>
          </p:nvPr>
        </p:nvSpPr>
        <p:spPr>
          <a:xfrm>
            <a:off x="955137" y="3666511"/>
            <a:ext cx="2906202" cy="2509020"/>
          </a:xfrm>
        </p:spPr>
        <p:txBody>
          <a:bodyPr/>
          <a:lstStyle>
            <a:lvl1pPr algn="ctr">
              <a:defRPr sz="2800"/>
            </a:lvl1pPr>
            <a:lvl2pPr algn="ctr">
              <a:defRPr sz="1800"/>
            </a:lvl2pPr>
            <a:lvl3pPr algn="ctr">
              <a:defRPr sz="1600"/>
            </a:lvl3pPr>
            <a:lvl4pPr algn="ctr">
              <a:defRPr sz="1600"/>
            </a:lvl4pPr>
            <a:lvl5pPr algn="ct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AFA79C2D-40B6-4106-B027-AD166F785068}"/>
              </a:ext>
            </a:extLst>
          </p:cNvPr>
          <p:cNvSpPr>
            <a:spLocks noGrp="1"/>
          </p:cNvSpPr>
          <p:nvPr>
            <p:ph type="body" sz="quarter" idx="15"/>
          </p:nvPr>
        </p:nvSpPr>
        <p:spPr>
          <a:xfrm>
            <a:off x="4622531" y="3666511"/>
            <a:ext cx="2906202" cy="2509020"/>
          </a:xfrm>
        </p:spPr>
        <p:txBody>
          <a:bodyPr/>
          <a:lstStyle>
            <a:lvl1pPr algn="ctr">
              <a:defRPr sz="2800"/>
            </a:lvl1pPr>
            <a:lvl2pPr algn="ctr">
              <a:defRPr sz="1800"/>
            </a:lvl2pPr>
            <a:lvl3pPr algn="ctr">
              <a:defRPr sz="1600"/>
            </a:lvl3pPr>
            <a:lvl4pPr algn="ctr">
              <a:defRPr sz="1600"/>
            </a:lvl4pPr>
            <a:lvl5pPr algn="ct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3D63C1AF-5DF9-409D-B747-A706930168C8}"/>
              </a:ext>
            </a:extLst>
          </p:cNvPr>
          <p:cNvSpPr>
            <a:spLocks noGrp="1"/>
          </p:cNvSpPr>
          <p:nvPr>
            <p:ph type="body" sz="quarter" idx="16"/>
          </p:nvPr>
        </p:nvSpPr>
        <p:spPr>
          <a:xfrm>
            <a:off x="8289925" y="3666511"/>
            <a:ext cx="2906202" cy="2509020"/>
          </a:xfrm>
        </p:spPr>
        <p:txBody>
          <a:bodyPr/>
          <a:lstStyle>
            <a:lvl1pPr algn="ctr">
              <a:defRPr sz="2800"/>
            </a:lvl1pPr>
            <a:lvl2pPr algn="ctr">
              <a:defRPr sz="1800"/>
            </a:lvl2pPr>
            <a:lvl3pPr algn="ctr">
              <a:defRPr sz="1600"/>
            </a:lvl3pPr>
            <a:lvl4pPr algn="ctr">
              <a:defRPr sz="1600"/>
            </a:lvl4pPr>
            <a:lvl5pPr algn="ct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7756FF71-0B91-4A65-A3E4-F6DED352CA5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83168017"/>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086607567"/>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024304226"/>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1069"/>
            <a:ext cx="4795873" cy="724246"/>
          </a:xfrm>
        </p:spPr>
        <p:txBody>
          <a:bodyPr wrap="square" anchor="t">
            <a:spAutoFit/>
          </a:bodyPr>
          <a:lstStyle>
            <a:lvl1pPr>
              <a:defRPr sz="3921" baseline="0">
                <a:gradFill>
                  <a:gsLst>
                    <a:gs pos="1250">
                      <a:schemeClr val="tx1"/>
                    </a:gs>
                    <a:gs pos="100000">
                      <a:schemeClr val="tx1"/>
                    </a:gs>
                  </a:gsLst>
                  <a:lin ang="5400000" scaled="0"/>
                </a:gradFill>
              </a:defRPr>
            </a:lvl1pPr>
          </a:lstStyle>
          <a:p>
            <a:r>
              <a:rPr lang="en-US"/>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242836254"/>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510004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74929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9683668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cSld name="Vide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6" name="Picture Placeholder 5"/>
          <p:cNvSpPr>
            <a:spLocks noGrp="1"/>
          </p:cNvSpPr>
          <p:nvPr>
            <p:ph type="pic" sz="quarter" idx="11" hasCustomPrompt="1"/>
          </p:nvPr>
        </p:nvSpPr>
        <p:spPr>
          <a:xfrm>
            <a:off x="0" y="-1"/>
            <a:ext cx="12192000" cy="6858001"/>
          </a:xfrm>
        </p:spPr>
        <p:txBody>
          <a:bodyPr>
            <a:noAutofit/>
          </a:bodyPr>
          <a:lstStyle>
            <a:lvl1pPr marL="0" indent="0">
              <a:buNone/>
              <a:defRPr>
                <a:solidFill>
                  <a:schemeClr val="bg1"/>
                </a:solidFill>
              </a:defRPr>
            </a:lvl1pPr>
          </a:lstStyle>
          <a:p>
            <a:r>
              <a:rPr lang="en-US"/>
              <a:t>Click icon to add picture then send to back.</a:t>
            </a:r>
          </a:p>
        </p:txBody>
      </p:sp>
      <p:sp>
        <p:nvSpPr>
          <p:cNvPr id="15" name="Text Placeholder 14"/>
          <p:cNvSpPr>
            <a:spLocks noGrp="1"/>
          </p:cNvSpPr>
          <p:nvPr>
            <p:ph type="body" sz="quarter" idx="12" hasCustomPrompt="1"/>
          </p:nvPr>
        </p:nvSpPr>
        <p:spPr>
          <a:xfrm>
            <a:off x="4722813" y="2095671"/>
            <a:ext cx="2743200" cy="914400"/>
          </a:xfrm>
        </p:spPr>
        <p:txBody>
          <a:bodyPr>
            <a:normAutofit/>
          </a:bodyPr>
          <a:lstStyle>
            <a:lvl1pPr marL="0" marR="0" indent="0" algn="ctr" defTabSz="914225" rtl="0" eaLnBrk="1" fontAlgn="auto" latinLnBrk="0" hangingPunct="1">
              <a:lnSpc>
                <a:spcPct val="100000"/>
              </a:lnSpc>
              <a:spcBef>
                <a:spcPts val="0"/>
              </a:spcBef>
              <a:spcAft>
                <a:spcPts val="0"/>
              </a:spcAft>
              <a:buClrTx/>
              <a:buSzTx/>
              <a:buFont typeface="Wingdings" pitchFamily="2" charset="2"/>
              <a:buNone/>
              <a:tabLst/>
              <a:defRPr lang="en-US" sz="5998"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3605508949"/>
      </p:ext>
    </p:extLst>
  </p:cSld>
  <p:clrMapOvr>
    <a:masterClrMapping/>
  </p:clrMapOvr>
  <p:transition>
    <p:fade/>
  </p:transition>
  <p:extLst>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06033316"/>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47033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4117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192615-CF54-43D5-B549-801DC05324F0}"/>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FA74E2C5-1831-4959-9C27-E60BEA8F309A}"/>
              </a:ext>
            </a:extLst>
          </p:cNvPr>
          <p:cNvSpPr>
            <a:spLocks noGrp="1"/>
          </p:cNvSpPr>
          <p:nvPr>
            <p:ph type="body" sz="quarter" idx="10" hasCustomPrompt="1"/>
          </p:nvPr>
        </p:nvSpPr>
        <p:spPr>
          <a:xfrm>
            <a:off x="955137" y="3666511"/>
            <a:ext cx="2906202" cy="246221"/>
          </a:xfrm>
        </p:spPr>
        <p:txBody>
          <a:bodyPr/>
          <a:lstStyle>
            <a:lvl1pPr algn="ctr">
              <a:defRPr sz="1600"/>
            </a:lvl1pPr>
            <a:lvl2pPr algn="ctr">
              <a:defRPr sz="1800"/>
            </a:lvl2pPr>
            <a:lvl3pPr algn="ctr">
              <a:defRPr sz="1600"/>
            </a:lvl3pPr>
            <a:lvl4pPr algn="ctr">
              <a:defRPr sz="1600"/>
            </a:lvl4pPr>
            <a:lvl5pPr algn="ctr">
              <a:defRPr sz="1400"/>
            </a:lvl5pPr>
          </a:lstStyle>
          <a:p>
            <a:pPr lvl="3"/>
            <a:r>
              <a:rPr lang="en-US"/>
              <a:t>Fourth level</a:t>
            </a:r>
          </a:p>
        </p:txBody>
      </p:sp>
      <p:sp>
        <p:nvSpPr>
          <p:cNvPr id="11" name="Picture Placeholder 10">
            <a:extLst>
              <a:ext uri="{FF2B5EF4-FFF2-40B4-BE49-F238E27FC236}">
                <a16:creationId xmlns:a16="http://schemas.microsoft.com/office/drawing/2014/main" id="{6CF5E15A-6C0F-4905-B7AA-6DACA6155C7C}"/>
              </a:ext>
            </a:extLst>
          </p:cNvPr>
          <p:cNvSpPr>
            <a:spLocks noGrp="1" noChangeAspect="1"/>
          </p:cNvSpPr>
          <p:nvPr>
            <p:ph type="pic" sz="quarter" idx="12"/>
          </p:nvPr>
        </p:nvSpPr>
        <p:spPr>
          <a:xfrm>
            <a:off x="1421410" y="1536825"/>
            <a:ext cx="1973656" cy="1973656"/>
          </a:xfrm>
          <a:custGeom>
            <a:avLst/>
            <a:gdLst>
              <a:gd name="connsiteX0" fmla="*/ 986828 w 1973656"/>
              <a:gd name="connsiteY0" fmla="*/ 0 h 1973656"/>
              <a:gd name="connsiteX1" fmla="*/ 1973656 w 1973656"/>
              <a:gd name="connsiteY1" fmla="*/ 986828 h 1973656"/>
              <a:gd name="connsiteX2" fmla="*/ 986828 w 1973656"/>
              <a:gd name="connsiteY2" fmla="*/ 1973656 h 1973656"/>
              <a:gd name="connsiteX3" fmla="*/ 0 w 1973656"/>
              <a:gd name="connsiteY3" fmla="*/ 986828 h 1973656"/>
              <a:gd name="connsiteX4" fmla="*/ 986828 w 1973656"/>
              <a:gd name="connsiteY4" fmla="*/ 0 h 19736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656" h="1973656">
                <a:moveTo>
                  <a:pt x="986828" y="0"/>
                </a:moveTo>
                <a:cubicBezTo>
                  <a:pt x="1531838" y="0"/>
                  <a:pt x="1973656" y="441818"/>
                  <a:pt x="1973656" y="986828"/>
                </a:cubicBezTo>
                <a:cubicBezTo>
                  <a:pt x="1973656" y="1531838"/>
                  <a:pt x="1531838" y="1973656"/>
                  <a:pt x="986828" y="1973656"/>
                </a:cubicBezTo>
                <a:cubicBezTo>
                  <a:pt x="441818" y="1973656"/>
                  <a:pt x="0" y="1531838"/>
                  <a:pt x="0" y="986828"/>
                </a:cubicBezTo>
                <a:cubicBezTo>
                  <a:pt x="0" y="441818"/>
                  <a:pt x="441818" y="0"/>
                  <a:pt x="986828" y="0"/>
                </a:cubicBezTo>
                <a:close/>
              </a:path>
            </a:pathLst>
          </a:custGeom>
          <a:solidFill>
            <a:schemeClr val="accent1"/>
          </a:solidFill>
        </p:spPr>
        <p:txBody>
          <a:bodyPr wrap="square">
            <a:noAutofit/>
          </a:bodyPr>
          <a:lstStyle/>
          <a:p>
            <a:endParaRPr lang="en-US"/>
          </a:p>
        </p:txBody>
      </p:sp>
      <p:sp>
        <p:nvSpPr>
          <p:cNvPr id="12" name="Picture Placeholder 11">
            <a:extLst>
              <a:ext uri="{FF2B5EF4-FFF2-40B4-BE49-F238E27FC236}">
                <a16:creationId xmlns:a16="http://schemas.microsoft.com/office/drawing/2014/main" id="{6680ABFA-2E3A-41E6-8F4D-A9C0A7315C3E}"/>
              </a:ext>
            </a:extLst>
          </p:cNvPr>
          <p:cNvSpPr>
            <a:spLocks noGrp="1" noChangeAspect="1"/>
          </p:cNvSpPr>
          <p:nvPr>
            <p:ph type="pic" sz="quarter" idx="13"/>
          </p:nvPr>
        </p:nvSpPr>
        <p:spPr>
          <a:xfrm>
            <a:off x="5088804" y="1536825"/>
            <a:ext cx="1973656" cy="1973656"/>
          </a:xfrm>
          <a:custGeom>
            <a:avLst/>
            <a:gdLst>
              <a:gd name="connsiteX0" fmla="*/ 986828 w 1973656"/>
              <a:gd name="connsiteY0" fmla="*/ 0 h 1973656"/>
              <a:gd name="connsiteX1" fmla="*/ 1973656 w 1973656"/>
              <a:gd name="connsiteY1" fmla="*/ 986828 h 1973656"/>
              <a:gd name="connsiteX2" fmla="*/ 986828 w 1973656"/>
              <a:gd name="connsiteY2" fmla="*/ 1973656 h 1973656"/>
              <a:gd name="connsiteX3" fmla="*/ 0 w 1973656"/>
              <a:gd name="connsiteY3" fmla="*/ 986828 h 1973656"/>
              <a:gd name="connsiteX4" fmla="*/ 986828 w 1973656"/>
              <a:gd name="connsiteY4" fmla="*/ 0 h 19736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656" h="1973656">
                <a:moveTo>
                  <a:pt x="986828" y="0"/>
                </a:moveTo>
                <a:cubicBezTo>
                  <a:pt x="1531838" y="0"/>
                  <a:pt x="1973656" y="441818"/>
                  <a:pt x="1973656" y="986828"/>
                </a:cubicBezTo>
                <a:cubicBezTo>
                  <a:pt x="1973656" y="1531838"/>
                  <a:pt x="1531838" y="1973656"/>
                  <a:pt x="986828" y="1973656"/>
                </a:cubicBezTo>
                <a:cubicBezTo>
                  <a:pt x="441818" y="1973656"/>
                  <a:pt x="0" y="1531838"/>
                  <a:pt x="0" y="986828"/>
                </a:cubicBezTo>
                <a:cubicBezTo>
                  <a:pt x="0" y="441818"/>
                  <a:pt x="441818" y="0"/>
                  <a:pt x="986828" y="0"/>
                </a:cubicBezTo>
                <a:close/>
              </a:path>
            </a:pathLst>
          </a:custGeom>
          <a:solidFill>
            <a:schemeClr val="accent1"/>
          </a:solidFill>
        </p:spPr>
        <p:txBody>
          <a:bodyPr wrap="square">
            <a:noAutofit/>
          </a:bodyPr>
          <a:lstStyle/>
          <a:p>
            <a:endParaRPr lang="en-US"/>
          </a:p>
        </p:txBody>
      </p:sp>
      <p:sp>
        <p:nvSpPr>
          <p:cNvPr id="13" name="Picture Placeholder 12">
            <a:extLst>
              <a:ext uri="{FF2B5EF4-FFF2-40B4-BE49-F238E27FC236}">
                <a16:creationId xmlns:a16="http://schemas.microsoft.com/office/drawing/2014/main" id="{A554B997-4B20-4B6C-ADEC-4F86D0ACBDE2}"/>
              </a:ext>
            </a:extLst>
          </p:cNvPr>
          <p:cNvSpPr>
            <a:spLocks noGrp="1" noChangeAspect="1"/>
          </p:cNvSpPr>
          <p:nvPr>
            <p:ph type="pic" sz="quarter" idx="14"/>
          </p:nvPr>
        </p:nvSpPr>
        <p:spPr>
          <a:xfrm>
            <a:off x="8756198" y="1536825"/>
            <a:ext cx="1973656" cy="1973656"/>
          </a:xfrm>
          <a:custGeom>
            <a:avLst/>
            <a:gdLst>
              <a:gd name="connsiteX0" fmla="*/ 986828 w 1973656"/>
              <a:gd name="connsiteY0" fmla="*/ 0 h 1973656"/>
              <a:gd name="connsiteX1" fmla="*/ 1973656 w 1973656"/>
              <a:gd name="connsiteY1" fmla="*/ 986828 h 1973656"/>
              <a:gd name="connsiteX2" fmla="*/ 986828 w 1973656"/>
              <a:gd name="connsiteY2" fmla="*/ 1973656 h 1973656"/>
              <a:gd name="connsiteX3" fmla="*/ 0 w 1973656"/>
              <a:gd name="connsiteY3" fmla="*/ 986828 h 1973656"/>
              <a:gd name="connsiteX4" fmla="*/ 986828 w 1973656"/>
              <a:gd name="connsiteY4" fmla="*/ 0 h 19736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656" h="1973656">
                <a:moveTo>
                  <a:pt x="986828" y="0"/>
                </a:moveTo>
                <a:cubicBezTo>
                  <a:pt x="1531838" y="0"/>
                  <a:pt x="1973656" y="441818"/>
                  <a:pt x="1973656" y="986828"/>
                </a:cubicBezTo>
                <a:cubicBezTo>
                  <a:pt x="1973656" y="1531838"/>
                  <a:pt x="1531838" y="1973656"/>
                  <a:pt x="986828" y="1973656"/>
                </a:cubicBezTo>
                <a:cubicBezTo>
                  <a:pt x="441818" y="1973656"/>
                  <a:pt x="0" y="1531838"/>
                  <a:pt x="0" y="986828"/>
                </a:cubicBezTo>
                <a:cubicBezTo>
                  <a:pt x="0" y="441818"/>
                  <a:pt x="441818" y="0"/>
                  <a:pt x="986828" y="0"/>
                </a:cubicBezTo>
                <a:close/>
              </a:path>
            </a:pathLst>
          </a:custGeom>
          <a:solidFill>
            <a:schemeClr val="accent1"/>
          </a:solidFill>
        </p:spPr>
        <p:txBody>
          <a:bodyPr wrap="square">
            <a:noAutofit/>
          </a:bodyPr>
          <a:lstStyle/>
          <a:p>
            <a:endParaRPr lang="en-US"/>
          </a:p>
        </p:txBody>
      </p:sp>
      <p:sp>
        <p:nvSpPr>
          <p:cNvPr id="14" name="Text Placeholder 3">
            <a:extLst>
              <a:ext uri="{FF2B5EF4-FFF2-40B4-BE49-F238E27FC236}">
                <a16:creationId xmlns:a16="http://schemas.microsoft.com/office/drawing/2014/main" id="{AFA79C2D-40B6-4106-B027-AD166F785068}"/>
              </a:ext>
            </a:extLst>
          </p:cNvPr>
          <p:cNvSpPr>
            <a:spLocks noGrp="1"/>
          </p:cNvSpPr>
          <p:nvPr>
            <p:ph type="body" sz="quarter" idx="15" hasCustomPrompt="1"/>
          </p:nvPr>
        </p:nvSpPr>
        <p:spPr>
          <a:xfrm>
            <a:off x="4622531" y="3666511"/>
            <a:ext cx="2906202" cy="246221"/>
          </a:xfrm>
        </p:spPr>
        <p:txBody>
          <a:bodyPr/>
          <a:lstStyle>
            <a:lvl1pPr algn="ctr">
              <a:defRPr sz="2800"/>
            </a:lvl1pPr>
            <a:lvl2pPr algn="ctr">
              <a:defRPr sz="1800"/>
            </a:lvl2pPr>
            <a:lvl3pPr algn="ctr">
              <a:defRPr sz="1600"/>
            </a:lvl3pPr>
            <a:lvl4pPr algn="ctr">
              <a:defRPr sz="1600"/>
            </a:lvl4pPr>
            <a:lvl5pPr algn="ctr">
              <a:defRPr sz="1400"/>
            </a:lvl5pPr>
          </a:lstStyle>
          <a:p>
            <a:pPr lvl="3"/>
            <a:r>
              <a:rPr lang="en-US"/>
              <a:t>Fourth level</a:t>
            </a:r>
          </a:p>
        </p:txBody>
      </p:sp>
      <p:sp>
        <p:nvSpPr>
          <p:cNvPr id="15" name="Text Placeholder 3">
            <a:extLst>
              <a:ext uri="{FF2B5EF4-FFF2-40B4-BE49-F238E27FC236}">
                <a16:creationId xmlns:a16="http://schemas.microsoft.com/office/drawing/2014/main" id="{3D63C1AF-5DF9-409D-B747-A706930168C8}"/>
              </a:ext>
            </a:extLst>
          </p:cNvPr>
          <p:cNvSpPr>
            <a:spLocks noGrp="1"/>
          </p:cNvSpPr>
          <p:nvPr>
            <p:ph type="body" sz="quarter" idx="16" hasCustomPrompt="1"/>
          </p:nvPr>
        </p:nvSpPr>
        <p:spPr>
          <a:xfrm>
            <a:off x="8289925" y="3666511"/>
            <a:ext cx="2906202" cy="246221"/>
          </a:xfrm>
        </p:spPr>
        <p:txBody>
          <a:bodyPr/>
          <a:lstStyle>
            <a:lvl1pPr algn="ctr">
              <a:defRPr sz="2800"/>
            </a:lvl1pPr>
            <a:lvl2pPr algn="ctr">
              <a:defRPr sz="1800"/>
            </a:lvl2pPr>
            <a:lvl3pPr algn="ctr">
              <a:defRPr sz="1600"/>
            </a:lvl3pPr>
            <a:lvl4pPr algn="ctr">
              <a:defRPr sz="1600"/>
            </a:lvl4pPr>
            <a:lvl5pPr algn="ctr">
              <a:defRPr sz="1400"/>
            </a:lvl5pPr>
          </a:lstStyle>
          <a:p>
            <a:pPr lvl="3"/>
            <a:r>
              <a:rPr lang="en-US"/>
              <a:t>Fourth level</a:t>
            </a:r>
          </a:p>
        </p:txBody>
      </p:sp>
      <p:sp>
        <p:nvSpPr>
          <p:cNvPr id="9" name="Text Placeholder 3">
            <a:extLst>
              <a:ext uri="{FF2B5EF4-FFF2-40B4-BE49-F238E27FC236}">
                <a16:creationId xmlns:a16="http://schemas.microsoft.com/office/drawing/2014/main" id="{4A70EC99-9086-4622-9EF0-5A9AE3075ACB}"/>
              </a:ext>
            </a:extLst>
          </p:cNvPr>
          <p:cNvSpPr>
            <a:spLocks noGrp="1"/>
          </p:cNvSpPr>
          <p:nvPr>
            <p:ph type="body" sz="quarter" idx="17" hasCustomPrompt="1"/>
          </p:nvPr>
        </p:nvSpPr>
        <p:spPr>
          <a:xfrm>
            <a:off x="955137" y="4079179"/>
            <a:ext cx="2906202" cy="215444"/>
          </a:xfrm>
        </p:spPr>
        <p:txBody>
          <a:bodyPr/>
          <a:lstStyle>
            <a:lvl1pPr algn="ctr">
              <a:defRPr sz="1600"/>
            </a:lvl1pPr>
            <a:lvl2pPr algn="ctr">
              <a:defRPr sz="1800"/>
            </a:lvl2pPr>
            <a:lvl3pPr algn="ctr">
              <a:defRPr sz="1600"/>
            </a:lvl3pPr>
            <a:lvl4pPr algn="ctr">
              <a:defRPr sz="1600"/>
            </a:lvl4pPr>
            <a:lvl5pPr algn="ctr">
              <a:defRPr sz="1400"/>
            </a:lvl5pPr>
          </a:lstStyle>
          <a:p>
            <a:pPr lvl="4"/>
            <a:r>
              <a:rPr lang="en-US"/>
              <a:t>Fifth level</a:t>
            </a:r>
          </a:p>
        </p:txBody>
      </p:sp>
      <p:sp>
        <p:nvSpPr>
          <p:cNvPr id="10" name="Text Placeholder 3">
            <a:extLst>
              <a:ext uri="{FF2B5EF4-FFF2-40B4-BE49-F238E27FC236}">
                <a16:creationId xmlns:a16="http://schemas.microsoft.com/office/drawing/2014/main" id="{6B2A57DA-B65F-414D-9684-AB2E80E9A513}"/>
              </a:ext>
            </a:extLst>
          </p:cNvPr>
          <p:cNvSpPr>
            <a:spLocks noGrp="1"/>
          </p:cNvSpPr>
          <p:nvPr>
            <p:ph type="body" sz="quarter" idx="18" hasCustomPrompt="1"/>
          </p:nvPr>
        </p:nvSpPr>
        <p:spPr>
          <a:xfrm>
            <a:off x="4622531" y="4079179"/>
            <a:ext cx="2906202" cy="215444"/>
          </a:xfrm>
        </p:spPr>
        <p:txBody>
          <a:bodyPr/>
          <a:lstStyle>
            <a:lvl1pPr algn="ctr">
              <a:defRPr sz="2800"/>
            </a:lvl1pPr>
            <a:lvl2pPr algn="ctr">
              <a:defRPr sz="1800"/>
            </a:lvl2pPr>
            <a:lvl3pPr algn="ctr">
              <a:defRPr sz="1600"/>
            </a:lvl3pPr>
            <a:lvl4pPr algn="ctr">
              <a:defRPr sz="1600"/>
            </a:lvl4pPr>
            <a:lvl5pPr algn="ctr">
              <a:defRPr sz="1400"/>
            </a:lvl5pPr>
          </a:lstStyle>
          <a:p>
            <a:pPr lvl="4"/>
            <a:r>
              <a:rPr lang="en-US"/>
              <a:t>Fifth level</a:t>
            </a:r>
          </a:p>
        </p:txBody>
      </p:sp>
      <p:sp>
        <p:nvSpPr>
          <p:cNvPr id="16" name="Text Placeholder 3">
            <a:extLst>
              <a:ext uri="{FF2B5EF4-FFF2-40B4-BE49-F238E27FC236}">
                <a16:creationId xmlns:a16="http://schemas.microsoft.com/office/drawing/2014/main" id="{15699F0C-8689-40EC-85FB-B3AB291EF3F7}"/>
              </a:ext>
            </a:extLst>
          </p:cNvPr>
          <p:cNvSpPr>
            <a:spLocks noGrp="1"/>
          </p:cNvSpPr>
          <p:nvPr>
            <p:ph type="body" sz="quarter" idx="19" hasCustomPrompt="1"/>
          </p:nvPr>
        </p:nvSpPr>
        <p:spPr>
          <a:xfrm>
            <a:off x="8289925" y="4079179"/>
            <a:ext cx="2906202" cy="215444"/>
          </a:xfrm>
        </p:spPr>
        <p:txBody>
          <a:bodyPr/>
          <a:lstStyle>
            <a:lvl1pPr algn="ctr">
              <a:defRPr sz="2800"/>
            </a:lvl1pPr>
            <a:lvl2pPr algn="ctr">
              <a:defRPr sz="1800"/>
            </a:lvl2pPr>
            <a:lvl3pPr algn="ctr">
              <a:defRPr sz="1600"/>
            </a:lvl3pPr>
            <a:lvl4pPr algn="ctr">
              <a:defRPr sz="1600"/>
            </a:lvl4pPr>
            <a:lvl5pPr algn="ctr">
              <a:defRPr sz="1400"/>
            </a:lvl5pPr>
          </a:lstStyle>
          <a:p>
            <a:pPr lvl="4"/>
            <a:r>
              <a:rPr lang="en-US"/>
              <a:t>Fifth level</a:t>
            </a:r>
          </a:p>
        </p:txBody>
      </p:sp>
    </p:spTree>
    <p:extLst>
      <p:ext uri="{BB962C8B-B14F-4D97-AF65-F5344CB8AC3E}">
        <p14:creationId xmlns:p14="http://schemas.microsoft.com/office/powerpoint/2010/main" val="3781992473"/>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724610"/>
          </a:xfrm>
        </p:spPr>
        <p:txBody>
          <a:bodyPr/>
          <a:lstStyle>
            <a:lvl1pPr marL="0" indent="0">
              <a:buNone/>
              <a:defRPr sz="3235">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1pPr>
            <a:lvl2pPr marL="339726"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2pPr>
            <a:lvl3pPr marL="573090"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3pPr>
            <a:lvl4pPr marL="798516"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4pPr>
            <a:lvl5pPr marL="1030292"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4582456"/>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7813852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3302732"/>
            <a:ext cx="1423303" cy="304828"/>
          </a:xfrm>
          <a:prstGeom prst="rect">
            <a:avLst/>
          </a:prstGeom>
        </p:spPr>
      </p:pic>
    </p:spTree>
    <p:extLst>
      <p:ext uri="{BB962C8B-B14F-4D97-AF65-F5344CB8AC3E}">
        <p14:creationId xmlns:p14="http://schemas.microsoft.com/office/powerpoint/2010/main" val="20715525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1922270"/>
          </a:xfrm>
          <a:prstGeom prst="rect">
            <a:avLst/>
          </a:prstGeom>
        </p:spPr>
        <p:txBody>
          <a:bodyPr/>
          <a:lstStyle>
            <a:lvl1pPr marL="0" indent="0">
              <a:buClr>
                <a:schemeClr val="tx1"/>
              </a:buClr>
              <a:buSzPct val="90000"/>
              <a:buFont typeface="Arial" pitchFamily="34" charset="0"/>
              <a:buNone/>
              <a:defRPr sz="2745" b="0" i="0">
                <a:gradFill>
                  <a:gsLst>
                    <a:gs pos="1250">
                      <a:schemeClr val="tx1"/>
                    </a:gs>
                    <a:gs pos="100000">
                      <a:schemeClr val="tx1"/>
                    </a:gs>
                  </a:gsLst>
                  <a:lin ang="5400000" scaled="0"/>
                </a:gradFill>
                <a:latin typeface="+mn-lt"/>
                <a:ea typeface="Segoe UI" pitchFamily="34" charset="0"/>
                <a:cs typeface="Segoe UI" pitchFamily="34" charset="0"/>
              </a:defRPr>
            </a:lvl1pPr>
            <a:lvl2pPr marL="284789" indent="0">
              <a:buClr>
                <a:schemeClr val="tx1"/>
              </a:buClr>
              <a:buSzPct val="90000"/>
              <a:buFont typeface="Arial" pitchFamily="34" charset="0"/>
              <a:buNone/>
              <a:defRPr sz="2353" b="0" i="0">
                <a:gradFill>
                  <a:gsLst>
                    <a:gs pos="1250">
                      <a:schemeClr val="tx1"/>
                    </a:gs>
                    <a:gs pos="100000">
                      <a:schemeClr val="tx1"/>
                    </a:gs>
                  </a:gsLst>
                  <a:lin ang="5400000" scaled="0"/>
                </a:gradFill>
                <a:latin typeface="+mn-lt"/>
                <a:ea typeface="Segoe UI" pitchFamily="34" charset="0"/>
                <a:cs typeface="Segoe UI" pitchFamily="34" charset="0"/>
              </a:defRPr>
            </a:lvl2pPr>
            <a:lvl3pPr marL="560241" indent="0">
              <a:buClr>
                <a:schemeClr val="tx1"/>
              </a:buClr>
              <a:buSzPct val="90000"/>
              <a:buFont typeface="Arial" pitchFamily="34" charset="0"/>
              <a:buNone/>
              <a:defRPr sz="1961" b="0" i="0">
                <a:gradFill>
                  <a:gsLst>
                    <a:gs pos="1250">
                      <a:schemeClr val="tx1"/>
                    </a:gs>
                    <a:gs pos="100000">
                      <a:schemeClr val="tx1"/>
                    </a:gs>
                  </a:gsLst>
                  <a:lin ang="5400000" scaled="0"/>
                </a:gradFill>
                <a:latin typeface="+mn-lt"/>
                <a:ea typeface="Segoe UI" pitchFamily="34" charset="0"/>
                <a:cs typeface="Segoe UI" pitchFamily="34" charset="0"/>
              </a:defRPr>
            </a:lvl3pPr>
            <a:lvl4pPr marL="845031" indent="0">
              <a:buClr>
                <a:schemeClr val="tx1"/>
              </a:buClr>
              <a:buSzPct val="90000"/>
              <a:buFont typeface="Arial" pitchFamily="34" charset="0"/>
              <a:buNone/>
              <a:defRPr sz="1765" b="0" i="0">
                <a:gradFill>
                  <a:gsLst>
                    <a:gs pos="1250">
                      <a:schemeClr val="tx1"/>
                    </a:gs>
                    <a:gs pos="100000">
                      <a:schemeClr val="tx1"/>
                    </a:gs>
                  </a:gsLst>
                  <a:lin ang="5400000" scaled="0"/>
                </a:gradFill>
                <a:latin typeface="+mn-lt"/>
                <a:ea typeface="Segoe UI" pitchFamily="34" charset="0"/>
                <a:cs typeface="Segoe UI" pitchFamily="34" charset="0"/>
              </a:defRPr>
            </a:lvl4pPr>
            <a:lvl5pPr marL="1069128" indent="0">
              <a:buClr>
                <a:schemeClr val="tx1"/>
              </a:buClr>
              <a:buSzPct val="90000"/>
              <a:buFont typeface="Arial" pitchFamily="34" charset="0"/>
              <a:buNone/>
              <a:defRPr sz="1568" b="0" i="0">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i="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376652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4" imgW="425" imgH="426" progId="TCLayout.ActiveDocument.1">
                  <p:embed/>
                </p:oleObj>
              </mc:Choice>
              <mc:Fallback>
                <p:oleObj name="think-cell Slide" r:id="rId4" imgW="425" imgH="426" progId="TCLayout.ActiveDocument.1">
                  <p:embed/>
                  <p:pic>
                    <p:nvPicPr>
                      <p:cNvPr id="3" name="Object 2" hidden="1"/>
                      <p:cNvPicPr/>
                      <p:nvPr/>
                    </p:nvPicPr>
                    <p:blipFill>
                      <a:blip r:embed="rId5"/>
                      <a:stretch>
                        <a:fillRect/>
                      </a:stretch>
                    </p:blipFill>
                    <p:spPr>
                      <a:xfrm>
                        <a:off x="1592" y="1592"/>
                        <a:ext cx="1587" cy="1587"/>
                      </a:xfrm>
                      <a:prstGeom prst="rect">
                        <a:avLst/>
                      </a:prstGeom>
                    </p:spPr>
                  </p:pic>
                </p:oleObj>
              </mc:Fallback>
            </mc:AlternateContent>
          </a:graphicData>
        </a:graphic>
      </p:graphicFrame>
      <p:sp>
        <p:nvSpPr>
          <p:cNvPr id="2" name="Title 1"/>
          <p:cNvSpPr>
            <a:spLocks noGrp="1"/>
          </p:cNvSpPr>
          <p:nvPr>
            <p:ph type="title"/>
          </p:nvPr>
        </p:nvSpPr>
        <p:spPr>
          <a:xfrm>
            <a:off x="335280" y="599440"/>
            <a:ext cx="11551920" cy="812800"/>
          </a:xfrm>
          <a:prstGeom prst="rect">
            <a:avLst/>
          </a:prstGeom>
        </p:spPr>
        <p:txBody>
          <a:bodyPr lIns="90980" tIns="45491" rIns="90980" bIns="45491"/>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02360680"/>
      </p:ext>
    </p:extLst>
  </p:cSld>
  <p:clrMapOvr>
    <a:masterClrMapping/>
  </p:clrMapOvr>
  <p:transition>
    <p:fade/>
  </p:transition>
  <p:extLst>
    <p:ext uri="{DCECCB84-F9BA-43D5-87BE-67443E8EF086}">
      <p15:sldGuideLst xmlns:p15="http://schemas.microsoft.com/office/powerpoint/2012/main"/>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19251" y="228602"/>
            <a:ext cx="11151917" cy="543034"/>
          </a:xfrm>
          <a:prstGeom prst="rect">
            <a:avLst/>
          </a:prstGeom>
        </p:spPr>
        <p:txBody>
          <a:bodyPr vert="horz" wrap="square" lIns="0" tIns="0" rIns="0" bIns="0" rtlCol="0" anchor="t">
            <a:spAutoFit/>
          </a:bodyPr>
          <a:lstStyle/>
          <a:p>
            <a:r>
              <a:rPr lang="en-US"/>
              <a:t>Click to edit Master title style</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34010" y="6185678"/>
            <a:ext cx="1920568" cy="706469"/>
          </a:xfrm>
          <a:prstGeom prst="rect">
            <a:avLst/>
          </a:prstGeom>
        </p:spPr>
      </p:pic>
    </p:spTree>
    <p:extLst>
      <p:ext uri="{BB962C8B-B14F-4D97-AF65-F5344CB8AC3E}">
        <p14:creationId xmlns:p14="http://schemas.microsoft.com/office/powerpoint/2010/main" val="522981247"/>
      </p:ext>
    </p:extLst>
  </p:cSld>
  <p:clrMapOvr>
    <a:masterClrMapping/>
  </p:clrMapOvr>
  <p:transition spd="med">
    <p:push dir="r"/>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13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sz="4704">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33820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cSld name="Section Title w/black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5996" spc="-100" baseline="0">
                <a:solidFill>
                  <a:schemeClr val="bg1"/>
                </a:solidFill>
              </a:defRPr>
            </a:lvl1pPr>
          </a:lstStyle>
          <a:p>
            <a:r>
              <a:rPr lang="en-US"/>
              <a:t>Section title</a:t>
            </a:r>
          </a:p>
        </p:txBody>
      </p:sp>
      <p:sp>
        <p:nvSpPr>
          <p:cNvPr id="5" name="Picture Placeholder 4"/>
          <p:cNvSpPr>
            <a:spLocks noGrp="1"/>
          </p:cNvSpPr>
          <p:nvPr>
            <p:ph type="pic" sz="quarter" idx="10" hasCustomPrompt="1"/>
          </p:nvPr>
        </p:nvSpPr>
        <p:spPr>
          <a:xfrm>
            <a:off x="0" y="-4822"/>
            <a:ext cx="12192000" cy="1162241"/>
          </a:xfrm>
        </p:spPr>
        <p:txBody>
          <a:bodyPr/>
          <a:lstStyle>
            <a:lvl1pPr>
              <a:defRPr baseline="0">
                <a:solidFill>
                  <a:schemeClr val="bg1"/>
                </a:solidFill>
              </a:defRPr>
            </a:lvl1pPr>
          </a:lstStyle>
          <a:p>
            <a:r>
              <a:rPr lang="en-US"/>
              <a:t>Click on icon to</a:t>
            </a:r>
            <a:br>
              <a:rPr lang="en-US"/>
            </a:br>
            <a:r>
              <a:rPr lang="en-US"/>
              <a:t>insert picture then</a:t>
            </a:r>
            <a:br>
              <a:rPr lang="en-US"/>
            </a:br>
            <a:r>
              <a:rPr lang="en-US"/>
              <a:t>send to back</a:t>
            </a:r>
          </a:p>
        </p:txBody>
      </p:sp>
    </p:spTree>
    <p:extLst>
      <p:ext uri="{BB962C8B-B14F-4D97-AF65-F5344CB8AC3E}">
        <p14:creationId xmlns:p14="http://schemas.microsoft.com/office/powerpoint/2010/main" val="1829446625"/>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Tree>
    <p:extLst>
      <p:ext uri="{BB962C8B-B14F-4D97-AF65-F5344CB8AC3E}">
        <p14:creationId xmlns:p14="http://schemas.microsoft.com/office/powerpoint/2010/main" val="2583182394"/>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91B34878-4E2A-4A5D-B3D3-F6CCF3BD21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5540" y="244283"/>
            <a:ext cx="1744034" cy="576853"/>
          </a:xfrm>
          <a:prstGeom prst="rect">
            <a:avLst/>
          </a:prstGeom>
        </p:spPr>
      </p:pic>
    </p:spTree>
    <p:extLst>
      <p:ext uri="{BB962C8B-B14F-4D97-AF65-F5344CB8AC3E}">
        <p14:creationId xmlns:p14="http://schemas.microsoft.com/office/powerpoint/2010/main" val="1989960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0229632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192615-CF54-43D5-B549-801DC05324F0}"/>
              </a:ext>
            </a:extLst>
          </p:cNvPr>
          <p:cNvSpPr>
            <a:spLocks noGrp="1"/>
          </p:cNvSpPr>
          <p:nvPr>
            <p:ph type="title"/>
          </p:nvPr>
        </p:nvSpPr>
        <p:spPr>
          <a:xfrm>
            <a:off x="426424" y="4214281"/>
            <a:ext cx="11336039" cy="744014"/>
          </a:xfrm>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FA74E2C5-1831-4959-9C27-E60BEA8F309A}"/>
              </a:ext>
            </a:extLst>
          </p:cNvPr>
          <p:cNvSpPr>
            <a:spLocks noGrp="1"/>
          </p:cNvSpPr>
          <p:nvPr>
            <p:ph type="body" sz="quarter" idx="10" hasCustomPrompt="1"/>
          </p:nvPr>
        </p:nvSpPr>
        <p:spPr>
          <a:xfrm>
            <a:off x="3962574" y="3666511"/>
            <a:ext cx="1645920" cy="246221"/>
          </a:xfrm>
        </p:spPr>
        <p:txBody>
          <a:bodyPr/>
          <a:lstStyle>
            <a:lvl1pPr algn="ctr">
              <a:defRPr sz="2800"/>
            </a:lvl1pPr>
            <a:lvl2pPr algn="ctr">
              <a:defRPr sz="1800"/>
            </a:lvl2pPr>
            <a:lvl3pPr algn="ctr">
              <a:defRPr sz="1600"/>
            </a:lvl3pPr>
            <a:lvl4pPr algn="ctr">
              <a:defRPr sz="1600"/>
            </a:lvl4pPr>
            <a:lvl5pPr algn="ctr">
              <a:defRPr sz="1400"/>
            </a:lvl5pPr>
          </a:lstStyle>
          <a:p>
            <a:pPr lvl="3"/>
            <a:r>
              <a:rPr lang="en-US"/>
              <a:t>Fourth</a:t>
            </a:r>
          </a:p>
        </p:txBody>
      </p:sp>
      <p:sp>
        <p:nvSpPr>
          <p:cNvPr id="11" name="Picture Placeholder 10">
            <a:extLst>
              <a:ext uri="{FF2B5EF4-FFF2-40B4-BE49-F238E27FC236}">
                <a16:creationId xmlns:a16="http://schemas.microsoft.com/office/drawing/2014/main" id="{6CF5E15A-6C0F-4905-B7AA-6DACA6155C7C}"/>
              </a:ext>
            </a:extLst>
          </p:cNvPr>
          <p:cNvSpPr>
            <a:spLocks noGrp="1" noChangeAspect="1"/>
          </p:cNvSpPr>
          <p:nvPr>
            <p:ph type="pic" sz="quarter" idx="12"/>
          </p:nvPr>
        </p:nvSpPr>
        <p:spPr>
          <a:xfrm>
            <a:off x="4012595" y="1964601"/>
            <a:ext cx="1545879" cy="1545879"/>
          </a:xfrm>
          <a:custGeom>
            <a:avLst/>
            <a:gdLst>
              <a:gd name="connsiteX0" fmla="*/ 986828 w 1973656"/>
              <a:gd name="connsiteY0" fmla="*/ 0 h 1973656"/>
              <a:gd name="connsiteX1" fmla="*/ 1973656 w 1973656"/>
              <a:gd name="connsiteY1" fmla="*/ 986828 h 1973656"/>
              <a:gd name="connsiteX2" fmla="*/ 986828 w 1973656"/>
              <a:gd name="connsiteY2" fmla="*/ 1973656 h 1973656"/>
              <a:gd name="connsiteX3" fmla="*/ 0 w 1973656"/>
              <a:gd name="connsiteY3" fmla="*/ 986828 h 1973656"/>
              <a:gd name="connsiteX4" fmla="*/ 986828 w 1973656"/>
              <a:gd name="connsiteY4" fmla="*/ 0 h 19736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656" h="1973656">
                <a:moveTo>
                  <a:pt x="986828" y="0"/>
                </a:moveTo>
                <a:cubicBezTo>
                  <a:pt x="1531838" y="0"/>
                  <a:pt x="1973656" y="441818"/>
                  <a:pt x="1973656" y="986828"/>
                </a:cubicBezTo>
                <a:cubicBezTo>
                  <a:pt x="1973656" y="1531838"/>
                  <a:pt x="1531838" y="1973656"/>
                  <a:pt x="986828" y="1973656"/>
                </a:cubicBezTo>
                <a:cubicBezTo>
                  <a:pt x="441818" y="1973656"/>
                  <a:pt x="0" y="1531838"/>
                  <a:pt x="0" y="986828"/>
                </a:cubicBezTo>
                <a:cubicBezTo>
                  <a:pt x="0" y="441818"/>
                  <a:pt x="441818" y="0"/>
                  <a:pt x="986828" y="0"/>
                </a:cubicBezTo>
                <a:close/>
              </a:path>
            </a:pathLst>
          </a:custGeom>
          <a:solidFill>
            <a:schemeClr val="accent1"/>
          </a:solidFill>
          <a:ln>
            <a:noFill/>
          </a:ln>
        </p:spPr>
        <p:txBody>
          <a:bodyPr wrap="square">
            <a:noAutofit/>
          </a:bodyPr>
          <a:lstStyle/>
          <a:p>
            <a:endParaRPr lang="en-US"/>
          </a:p>
        </p:txBody>
      </p:sp>
      <p:sp>
        <p:nvSpPr>
          <p:cNvPr id="12" name="Picture Placeholder 11">
            <a:extLst>
              <a:ext uri="{FF2B5EF4-FFF2-40B4-BE49-F238E27FC236}">
                <a16:creationId xmlns:a16="http://schemas.microsoft.com/office/drawing/2014/main" id="{6680ABFA-2E3A-41E6-8F4D-A9C0A7315C3E}"/>
              </a:ext>
            </a:extLst>
          </p:cNvPr>
          <p:cNvSpPr>
            <a:spLocks noGrp="1" noChangeAspect="1"/>
          </p:cNvSpPr>
          <p:nvPr>
            <p:ph type="pic" sz="quarter" idx="13"/>
          </p:nvPr>
        </p:nvSpPr>
        <p:spPr>
          <a:xfrm>
            <a:off x="5325179" y="1964601"/>
            <a:ext cx="1545879" cy="1545879"/>
          </a:xfrm>
          <a:custGeom>
            <a:avLst/>
            <a:gdLst>
              <a:gd name="connsiteX0" fmla="*/ 986828 w 1973656"/>
              <a:gd name="connsiteY0" fmla="*/ 0 h 1973656"/>
              <a:gd name="connsiteX1" fmla="*/ 1973656 w 1973656"/>
              <a:gd name="connsiteY1" fmla="*/ 986828 h 1973656"/>
              <a:gd name="connsiteX2" fmla="*/ 986828 w 1973656"/>
              <a:gd name="connsiteY2" fmla="*/ 1973656 h 1973656"/>
              <a:gd name="connsiteX3" fmla="*/ 0 w 1973656"/>
              <a:gd name="connsiteY3" fmla="*/ 986828 h 1973656"/>
              <a:gd name="connsiteX4" fmla="*/ 986828 w 1973656"/>
              <a:gd name="connsiteY4" fmla="*/ 0 h 19736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656" h="1973656">
                <a:moveTo>
                  <a:pt x="986828" y="0"/>
                </a:moveTo>
                <a:cubicBezTo>
                  <a:pt x="1531838" y="0"/>
                  <a:pt x="1973656" y="441818"/>
                  <a:pt x="1973656" y="986828"/>
                </a:cubicBezTo>
                <a:cubicBezTo>
                  <a:pt x="1973656" y="1531838"/>
                  <a:pt x="1531838" y="1973656"/>
                  <a:pt x="986828" y="1973656"/>
                </a:cubicBezTo>
                <a:cubicBezTo>
                  <a:pt x="441818" y="1973656"/>
                  <a:pt x="0" y="1531838"/>
                  <a:pt x="0" y="986828"/>
                </a:cubicBezTo>
                <a:cubicBezTo>
                  <a:pt x="0" y="441818"/>
                  <a:pt x="441818" y="0"/>
                  <a:pt x="986828" y="0"/>
                </a:cubicBezTo>
                <a:close/>
              </a:path>
            </a:pathLst>
          </a:custGeom>
          <a:solidFill>
            <a:schemeClr val="accent1"/>
          </a:solidFill>
          <a:ln>
            <a:noFill/>
          </a:ln>
        </p:spPr>
        <p:txBody>
          <a:bodyPr wrap="square">
            <a:noAutofit/>
          </a:bodyPr>
          <a:lstStyle/>
          <a:p>
            <a:endParaRPr lang="en-US"/>
          </a:p>
        </p:txBody>
      </p:sp>
      <p:sp>
        <p:nvSpPr>
          <p:cNvPr id="13" name="Picture Placeholder 12">
            <a:extLst>
              <a:ext uri="{FF2B5EF4-FFF2-40B4-BE49-F238E27FC236}">
                <a16:creationId xmlns:a16="http://schemas.microsoft.com/office/drawing/2014/main" id="{A554B997-4B20-4B6C-ADEC-4F86D0ACBDE2}"/>
              </a:ext>
            </a:extLst>
          </p:cNvPr>
          <p:cNvSpPr>
            <a:spLocks noGrp="1" noChangeAspect="1"/>
          </p:cNvSpPr>
          <p:nvPr>
            <p:ph type="pic" sz="quarter" idx="14"/>
          </p:nvPr>
        </p:nvSpPr>
        <p:spPr>
          <a:xfrm>
            <a:off x="6617591" y="1964601"/>
            <a:ext cx="1545879" cy="1545879"/>
          </a:xfrm>
          <a:custGeom>
            <a:avLst/>
            <a:gdLst>
              <a:gd name="connsiteX0" fmla="*/ 986828 w 1973656"/>
              <a:gd name="connsiteY0" fmla="*/ 0 h 1973656"/>
              <a:gd name="connsiteX1" fmla="*/ 1973656 w 1973656"/>
              <a:gd name="connsiteY1" fmla="*/ 986828 h 1973656"/>
              <a:gd name="connsiteX2" fmla="*/ 986828 w 1973656"/>
              <a:gd name="connsiteY2" fmla="*/ 1973656 h 1973656"/>
              <a:gd name="connsiteX3" fmla="*/ 0 w 1973656"/>
              <a:gd name="connsiteY3" fmla="*/ 986828 h 1973656"/>
              <a:gd name="connsiteX4" fmla="*/ 986828 w 1973656"/>
              <a:gd name="connsiteY4" fmla="*/ 0 h 19736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656" h="1973656">
                <a:moveTo>
                  <a:pt x="986828" y="0"/>
                </a:moveTo>
                <a:cubicBezTo>
                  <a:pt x="1531838" y="0"/>
                  <a:pt x="1973656" y="441818"/>
                  <a:pt x="1973656" y="986828"/>
                </a:cubicBezTo>
                <a:cubicBezTo>
                  <a:pt x="1973656" y="1531838"/>
                  <a:pt x="1531838" y="1973656"/>
                  <a:pt x="986828" y="1973656"/>
                </a:cubicBezTo>
                <a:cubicBezTo>
                  <a:pt x="441818" y="1973656"/>
                  <a:pt x="0" y="1531838"/>
                  <a:pt x="0" y="986828"/>
                </a:cubicBezTo>
                <a:cubicBezTo>
                  <a:pt x="0" y="441818"/>
                  <a:pt x="441818" y="0"/>
                  <a:pt x="986828" y="0"/>
                </a:cubicBezTo>
                <a:close/>
              </a:path>
            </a:pathLst>
          </a:custGeom>
          <a:solidFill>
            <a:schemeClr val="accent1"/>
          </a:solidFill>
          <a:ln>
            <a:noFill/>
          </a:ln>
        </p:spPr>
        <p:txBody>
          <a:bodyPr wrap="square">
            <a:noAutofit/>
          </a:bodyPr>
          <a:lstStyle/>
          <a:p>
            <a:endParaRPr lang="en-US"/>
          </a:p>
        </p:txBody>
      </p:sp>
      <p:sp>
        <p:nvSpPr>
          <p:cNvPr id="14" name="Text Placeholder 3">
            <a:extLst>
              <a:ext uri="{FF2B5EF4-FFF2-40B4-BE49-F238E27FC236}">
                <a16:creationId xmlns:a16="http://schemas.microsoft.com/office/drawing/2014/main" id="{AFA79C2D-40B6-4106-B027-AD166F785068}"/>
              </a:ext>
            </a:extLst>
          </p:cNvPr>
          <p:cNvSpPr>
            <a:spLocks noGrp="1"/>
          </p:cNvSpPr>
          <p:nvPr>
            <p:ph type="body" sz="quarter" idx="15" hasCustomPrompt="1"/>
          </p:nvPr>
        </p:nvSpPr>
        <p:spPr>
          <a:xfrm>
            <a:off x="5271483" y="3666511"/>
            <a:ext cx="1645920" cy="246221"/>
          </a:xfrm>
        </p:spPr>
        <p:txBody>
          <a:bodyPr/>
          <a:lstStyle>
            <a:lvl1pPr algn="ctr">
              <a:defRPr sz="2800"/>
            </a:lvl1pPr>
            <a:lvl2pPr algn="ctr">
              <a:defRPr sz="1800"/>
            </a:lvl2pPr>
            <a:lvl3pPr algn="ctr">
              <a:defRPr sz="1600"/>
            </a:lvl3pPr>
            <a:lvl4pPr algn="ctr">
              <a:defRPr sz="1600"/>
            </a:lvl4pPr>
            <a:lvl5pPr algn="ctr">
              <a:defRPr sz="1400"/>
            </a:lvl5pPr>
          </a:lstStyle>
          <a:p>
            <a:pPr lvl="3"/>
            <a:r>
              <a:rPr lang="en-US"/>
              <a:t>Fourth</a:t>
            </a:r>
          </a:p>
        </p:txBody>
      </p:sp>
      <p:sp>
        <p:nvSpPr>
          <p:cNvPr id="15" name="Text Placeholder 3">
            <a:extLst>
              <a:ext uri="{FF2B5EF4-FFF2-40B4-BE49-F238E27FC236}">
                <a16:creationId xmlns:a16="http://schemas.microsoft.com/office/drawing/2014/main" id="{3D63C1AF-5DF9-409D-B747-A706930168C8}"/>
              </a:ext>
            </a:extLst>
          </p:cNvPr>
          <p:cNvSpPr>
            <a:spLocks noGrp="1"/>
          </p:cNvSpPr>
          <p:nvPr>
            <p:ph type="body" sz="quarter" idx="16" hasCustomPrompt="1"/>
          </p:nvPr>
        </p:nvSpPr>
        <p:spPr>
          <a:xfrm>
            <a:off x="6567570" y="3666511"/>
            <a:ext cx="1645920" cy="246221"/>
          </a:xfrm>
        </p:spPr>
        <p:txBody>
          <a:bodyPr/>
          <a:lstStyle>
            <a:lvl1pPr algn="ctr">
              <a:defRPr sz="2800"/>
            </a:lvl1pPr>
            <a:lvl2pPr algn="ctr">
              <a:defRPr sz="1800"/>
            </a:lvl2pPr>
            <a:lvl3pPr algn="ctr">
              <a:defRPr sz="1600"/>
            </a:lvl3pPr>
            <a:lvl4pPr algn="ctr">
              <a:defRPr sz="1600"/>
            </a:lvl4pPr>
            <a:lvl5pPr algn="ctr">
              <a:defRPr sz="1400"/>
            </a:lvl5pPr>
          </a:lstStyle>
          <a:p>
            <a:pPr lvl="3"/>
            <a:r>
              <a:rPr lang="en-US"/>
              <a:t>Fourth</a:t>
            </a:r>
          </a:p>
        </p:txBody>
      </p:sp>
    </p:spTree>
    <p:extLst>
      <p:ext uri="{BB962C8B-B14F-4D97-AF65-F5344CB8AC3E}">
        <p14:creationId xmlns:p14="http://schemas.microsoft.com/office/powerpoint/2010/main" val="557266764"/>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4" name="Rectangle 3"/>
          <p:cNvSpPr/>
          <p:nvPr userDrawn="1"/>
        </p:nvSpPr>
        <p:spPr bwMode="auto">
          <a:xfrm>
            <a:off x="3"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20" tIns="38061" rIns="76120" bIns="38061" numCol="1" rtlCol="0" anchor="ctr" anchorCtr="0" compatLnSpc="1">
            <a:prstTxWarp prst="textNoShape">
              <a:avLst/>
            </a:prstTxWarp>
          </a:bodyPr>
          <a:lstStyle/>
          <a:p>
            <a:pPr algn="ctr" defTabSz="760909"/>
            <a:endParaRPr lang="en-US" sz="1898">
              <a:gradFill>
                <a:gsLst>
                  <a:gs pos="0">
                    <a:srgbClr val="FFFFFF"/>
                  </a:gs>
                  <a:gs pos="100000">
                    <a:srgbClr val="FFFFFF"/>
                  </a:gs>
                </a:gsLst>
                <a:lin ang="5400000" scaled="0"/>
              </a:gradFill>
            </a:endParaRPr>
          </a:p>
        </p:txBody>
      </p:sp>
      <p:sp>
        <p:nvSpPr>
          <p:cNvPr id="2" name="Title 1"/>
          <p:cNvSpPr>
            <a:spLocks noGrp="1"/>
          </p:cNvSpPr>
          <p:nvPr>
            <p:ph type="title"/>
          </p:nvPr>
        </p:nvSpPr>
        <p:spPr>
          <a:xfrm>
            <a:off x="519251" y="315689"/>
            <a:ext cx="11151917" cy="747897"/>
          </a:xfrm>
        </p:spPr>
        <p:txBody>
          <a:bodyPr/>
          <a:lstStyle>
            <a:lvl1pPr>
              <a:defRPr>
                <a:solidFill>
                  <a:schemeClr val="tx1">
                    <a:lumMod val="75000"/>
                    <a:lumOff val="25000"/>
                  </a:schemeClr>
                </a:solidFill>
              </a:defRPr>
            </a:lvl1pPr>
          </a:lstStyle>
          <a:p>
            <a:r>
              <a:rPr lang="en-US"/>
              <a:t>Click to edit Master title style</a:t>
            </a:r>
          </a:p>
        </p:txBody>
      </p:sp>
    </p:spTree>
    <p:extLst>
      <p:ext uri="{BB962C8B-B14F-4D97-AF65-F5344CB8AC3E}">
        <p14:creationId xmlns:p14="http://schemas.microsoft.com/office/powerpoint/2010/main" val="345893620"/>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427989"/>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8D5337-0F33-4FDA-9E2C-D696A0155CD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FA1C626-5483-4190-A74E-E0EE280E8B6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6456879-C1D3-42DF-897C-40CBDF246C03}"/>
              </a:ext>
            </a:extLst>
          </p:cNvPr>
          <p:cNvSpPr>
            <a:spLocks noGrp="1"/>
          </p:cNvSpPr>
          <p:nvPr>
            <p:ph type="dt" sz="half" idx="10"/>
          </p:nvPr>
        </p:nvSpPr>
        <p:spPr/>
        <p:txBody>
          <a:bodyPr/>
          <a:lstStyle/>
          <a:p>
            <a:fld id="{8E1BB49D-4D92-40A8-A458-37C8043FBA12}" type="datetimeFigureOut">
              <a:rPr lang="en-US" smtClean="0"/>
              <a:t>9/14/2021</a:t>
            </a:fld>
            <a:endParaRPr lang="en-US"/>
          </a:p>
        </p:txBody>
      </p:sp>
      <p:sp>
        <p:nvSpPr>
          <p:cNvPr id="5" name="Footer Placeholder 4">
            <a:extLst>
              <a:ext uri="{FF2B5EF4-FFF2-40B4-BE49-F238E27FC236}">
                <a16:creationId xmlns:a16="http://schemas.microsoft.com/office/drawing/2014/main" id="{2A6FDC33-CBBB-47F4-8059-CBF98EFBBEF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513F0F-E883-4091-8577-CF54ADF25F3B}"/>
              </a:ext>
            </a:extLst>
          </p:cNvPr>
          <p:cNvSpPr>
            <a:spLocks noGrp="1"/>
          </p:cNvSpPr>
          <p:nvPr>
            <p:ph type="sldNum" sz="quarter" idx="12"/>
          </p:nvPr>
        </p:nvSpPr>
        <p:spPr/>
        <p:txBody>
          <a:bodyPr/>
          <a:lstStyle/>
          <a:p>
            <a:fld id="{689F1957-AA9E-4136-A2B4-5ACA407BD03E}" type="slidenum">
              <a:rPr lang="en-US" smtClean="0"/>
              <a:t>‹#›</a:t>
            </a:fld>
            <a:endParaRPr lang="en-US"/>
          </a:p>
        </p:txBody>
      </p:sp>
    </p:spTree>
    <p:extLst>
      <p:ext uri="{BB962C8B-B14F-4D97-AF65-F5344CB8AC3E}">
        <p14:creationId xmlns:p14="http://schemas.microsoft.com/office/powerpoint/2010/main" val="520673385"/>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srcRect t="15637"/>
          <a:stretch/>
        </p:blipFill>
        <p:spPr>
          <a:xfrm>
            <a:off x="0" y="0"/>
            <a:ext cx="12192000" cy="6858000"/>
          </a:xfrm>
          <a:prstGeom prst="rect">
            <a:avLst/>
          </a:prstGeom>
        </p:spPr>
      </p:pic>
      <p:sp>
        <p:nvSpPr>
          <p:cNvPr id="2" name="Rectangle 1"/>
          <p:cNvSpPr/>
          <p:nvPr userDrawn="1"/>
        </p:nvSpPr>
        <p:spPr bwMode="auto">
          <a:xfrm>
            <a:off x="266063" y="797669"/>
            <a:ext cx="6278150" cy="4872712"/>
          </a:xfrm>
          <a:prstGeom prst="rect">
            <a:avLst/>
          </a:prstGeom>
          <a:solidFill>
            <a:schemeClr val="tx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3" spc="-98" baseline="0">
                <a:gradFill>
                  <a:gsLst>
                    <a:gs pos="76768">
                      <a:srgbClr val="FFFFFF"/>
                    </a:gs>
                    <a:gs pos="53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6">
                <a:gradFill>
                  <a:gsLst>
                    <a:gs pos="76768">
                      <a:srgbClr val="FFFFFF"/>
                    </a:gs>
                    <a:gs pos="53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stretch>
            <a:fillRect/>
          </a:stretch>
        </p:blipFill>
        <p:spPr>
          <a:xfrm>
            <a:off x="0" y="5766325"/>
            <a:ext cx="2435301" cy="1091674"/>
          </a:xfrm>
          <a:prstGeom prst="rect">
            <a:avLst/>
          </a:prstGeom>
        </p:spPr>
      </p:pic>
    </p:spTree>
    <p:extLst>
      <p:ext uri="{BB962C8B-B14F-4D97-AF65-F5344CB8AC3E}">
        <p14:creationId xmlns:p14="http://schemas.microsoft.com/office/powerpoint/2010/main" val="1027402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srcRect t="5587" b="10049"/>
          <a:stretch/>
        </p:blipFill>
        <p:spPr>
          <a:xfrm>
            <a:off x="0" y="1"/>
            <a:ext cx="12192000" cy="6857998"/>
          </a:xfrm>
          <a:prstGeom prst="rect">
            <a:avLst/>
          </a:prstGeom>
        </p:spPr>
      </p:pic>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3" spc="-98" baseline="0">
                <a:gradFill>
                  <a:gsLst>
                    <a:gs pos="76768">
                      <a:srgbClr val="FFFFFF"/>
                    </a:gs>
                    <a:gs pos="53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6">
                <a:gradFill>
                  <a:gsLst>
                    <a:gs pos="76768">
                      <a:srgbClr val="FFFFFF"/>
                    </a:gs>
                    <a:gs pos="53000">
                      <a:srgbClr val="FFFFFF"/>
                    </a:gs>
                  </a:gsLst>
                  <a:lin ang="5400000" scaled="0"/>
                </a:gradFill>
              </a:defRPr>
            </a:lvl1pPr>
          </a:lstStyle>
          <a:p>
            <a:pPr lvl="0"/>
            <a:r>
              <a:rPr lang="en-US"/>
              <a:t>Speaker Name</a:t>
            </a:r>
          </a:p>
        </p:txBody>
      </p:sp>
      <p:pic>
        <p:nvPicPr>
          <p:cNvPr id="10" name="Picture 9"/>
          <p:cNvPicPr>
            <a:picLocks noChangeAspect="1"/>
          </p:cNvPicPr>
          <p:nvPr userDrawn="1"/>
        </p:nvPicPr>
        <p:blipFill>
          <a:blip r:embed="rId3"/>
          <a:stretch>
            <a:fillRect/>
          </a:stretch>
        </p:blipFill>
        <p:spPr>
          <a:xfrm>
            <a:off x="0" y="0"/>
            <a:ext cx="2435301" cy="1091674"/>
          </a:xfrm>
          <a:prstGeom prst="rect">
            <a:avLst/>
          </a:prstGeom>
        </p:spPr>
      </p:pic>
      <p:sp>
        <p:nvSpPr>
          <p:cNvPr id="6" name="TextBox 5"/>
          <p:cNvSpPr txBox="1"/>
          <p:nvPr userDrawn="1"/>
        </p:nvSpPr>
        <p:spPr>
          <a:xfrm>
            <a:off x="0" y="6378187"/>
            <a:ext cx="2094918" cy="483428"/>
          </a:xfrm>
          <a:prstGeom prst="rect">
            <a:avLst/>
          </a:prstGeom>
          <a:noFill/>
        </p:spPr>
        <p:txBody>
          <a:bodyPr wrap="none" lIns="179259" tIns="143407" rIns="179259" bIns="143407"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1371" b="0" i="0" u="none" strike="noStrike" kern="0" cap="none" spc="0" normalizeH="0" baseline="0" noProof="0">
                <a:ln>
                  <a:noFill/>
                </a:ln>
                <a:solidFill>
                  <a:schemeClr val="bg1"/>
                </a:solidFill>
                <a:effectLst/>
                <a:uLnTx/>
                <a:uFillTx/>
              </a:rPr>
              <a:t>Microsoft confidential</a:t>
            </a:r>
          </a:p>
        </p:txBody>
      </p:sp>
    </p:spTree>
    <p:extLst>
      <p:ext uri="{BB962C8B-B14F-4D97-AF65-F5344CB8AC3E}">
        <p14:creationId xmlns:p14="http://schemas.microsoft.com/office/powerpoint/2010/main" val="33966786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CA"/>
          </a:p>
        </p:txBody>
      </p:sp>
      <p:sp>
        <p:nvSpPr>
          <p:cNvPr id="6" name="Text Placeholder 3"/>
          <p:cNvSpPr>
            <a:spLocks noGrp="1"/>
          </p:cNvSpPr>
          <p:nvPr>
            <p:ph type="body" sz="quarter" idx="10"/>
          </p:nvPr>
        </p:nvSpPr>
        <p:spPr>
          <a:xfrm>
            <a:off x="269240" y="1189177"/>
            <a:ext cx="6391499" cy="1768367"/>
          </a:xfrm>
        </p:spPr>
        <p:txBody>
          <a:bodyPr wrap="square">
            <a:spAutoFit/>
          </a:bodyPr>
          <a:lstStyle>
            <a:lvl1pPr marL="0" indent="0">
              <a:spcBef>
                <a:spcPts val="1200"/>
              </a:spcBef>
              <a:buClr>
                <a:schemeClr val="tx1"/>
              </a:buClr>
              <a:buFont typeface="Wingdings" pitchFamily="2" charset="2"/>
              <a:buNone/>
              <a:defRPr sz="1961">
                <a:solidFill>
                  <a:schemeClr val="tx1"/>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269240" y="3640809"/>
            <a:ext cx="6391499" cy="1768367"/>
          </a:xfrm>
        </p:spPr>
        <p:txBody>
          <a:bodyPr wrap="square">
            <a:spAutoFit/>
          </a:bodyPr>
          <a:lstStyle>
            <a:lvl1pPr marL="0" indent="0">
              <a:spcBef>
                <a:spcPts val="1200"/>
              </a:spcBef>
              <a:buClr>
                <a:schemeClr val="tx1"/>
              </a:buClr>
              <a:buFont typeface="Wingdings" pitchFamily="2" charset="2"/>
              <a:buNone/>
              <a:defRPr sz="1961">
                <a:solidFill>
                  <a:schemeClr val="tx2"/>
                </a:solidFill>
              </a:defRPr>
            </a:lvl1pPr>
            <a:lvl2pPr marL="0" indent="0">
              <a:buNone/>
              <a:defRPr sz="1961">
                <a:latin typeface="+mj-lt"/>
              </a:defRPr>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30677" y="6464906"/>
            <a:ext cx="1285029" cy="276153"/>
          </a:xfrm>
          <a:prstGeom prst="rect">
            <a:avLst/>
          </a:prstGeom>
        </p:spPr>
      </p:pic>
    </p:spTree>
    <p:extLst>
      <p:ext uri="{BB962C8B-B14F-4D97-AF65-F5344CB8AC3E}">
        <p14:creationId xmlns:p14="http://schemas.microsoft.com/office/powerpoint/2010/main" val="2638455540"/>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051244"/>
            <a:ext cx="11653523" cy="1985641"/>
          </a:xfrm>
        </p:spPr>
        <p:txBody>
          <a:bodyPr>
            <a:noAutofit/>
          </a:bodyPr>
          <a:lstStyle>
            <a:lvl1pPr marL="0" indent="0">
              <a:buNone/>
              <a:defRPr>
                <a:solidFill>
                  <a:schemeClr val="tx1"/>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013" y="5679583"/>
            <a:ext cx="1622288" cy="1179040"/>
          </a:xfrm>
          <a:prstGeom prst="rect">
            <a:avLst/>
          </a:prstGeom>
        </p:spPr>
      </p:pic>
      <p:pic>
        <p:nvPicPr>
          <p:cNvPr id="5" name="Picture 4" descr="MS Logo.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spTree>
    <p:extLst>
      <p:ext uri="{BB962C8B-B14F-4D97-AF65-F5344CB8AC3E}">
        <p14:creationId xmlns:p14="http://schemas.microsoft.com/office/powerpoint/2010/main" val="175561069"/>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
          <a:stretch>
            <a:fillRect/>
          </a:stretch>
        </p:blipFill>
        <p:spPr>
          <a:xfrm>
            <a:off x="10260957" y="6323703"/>
            <a:ext cx="1727958" cy="319150"/>
          </a:xfrm>
          <a:prstGeom prst="rect">
            <a:avLst/>
          </a:prstGeom>
        </p:spPr>
      </p:pic>
    </p:spTree>
    <p:extLst>
      <p:ext uri="{BB962C8B-B14F-4D97-AF65-F5344CB8AC3E}">
        <p14:creationId xmlns:p14="http://schemas.microsoft.com/office/powerpoint/2010/main" val="810697917"/>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59405611"/>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087150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281505" y="1857226"/>
            <a:ext cx="2194560" cy="855619"/>
          </a:xfrm>
        </p:spPr>
        <p:txBody>
          <a:bodyPr/>
          <a:lstStyle>
            <a:lvl1pPr marL="0" indent="0" algn="ctr">
              <a:buNone/>
              <a:defRPr sz="1400" b="1">
                <a:solidFill>
                  <a:srgbClr val="0078D4"/>
                </a:solidFill>
              </a:defRPr>
            </a:lvl1pPr>
            <a:lvl2pPr marL="0" indent="0" algn="ctr">
              <a:buNone/>
              <a:defRPr sz="1200">
                <a:solidFill>
                  <a:srgbClr val="0078D4"/>
                </a:solidFill>
              </a:defRPr>
            </a:lvl2pPr>
            <a:lvl3pPr marL="0" indent="0" algn="ctr">
              <a:buNone/>
              <a:defRPr sz="105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2615710" y="1857226"/>
            <a:ext cx="2194560" cy="855619"/>
          </a:xfrm>
        </p:spPr>
        <p:txBody>
          <a:bodyPr/>
          <a:lstStyle>
            <a:lvl1pPr marL="0" indent="0" algn="ctr">
              <a:buNone/>
              <a:defRPr sz="1400" b="1">
                <a:solidFill>
                  <a:srgbClr val="0078D4"/>
                </a:solidFill>
              </a:defRPr>
            </a:lvl1pPr>
            <a:lvl2pPr marL="0" indent="0" algn="ctr">
              <a:buNone/>
              <a:defRPr sz="1200">
                <a:solidFill>
                  <a:srgbClr val="0078D4"/>
                </a:solidFill>
              </a:defRPr>
            </a:lvl2pPr>
            <a:lvl3pPr marL="0" indent="0" algn="ctr">
              <a:buNone/>
              <a:defRPr sz="1050">
                <a:solidFill>
                  <a:srgbClr val="0078D4"/>
                </a:solidFill>
              </a:defRPr>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4949915" y="1857226"/>
            <a:ext cx="2194560" cy="855619"/>
          </a:xfrm>
        </p:spPr>
        <p:txBody>
          <a:bodyPr/>
          <a:lstStyle>
            <a:lvl1pPr marL="0" indent="0" algn="ctr">
              <a:buNone/>
              <a:defRPr sz="1400" b="1">
                <a:solidFill>
                  <a:srgbClr val="0078D4"/>
                </a:solidFill>
              </a:defRPr>
            </a:lvl1pPr>
            <a:lvl2pPr marL="0" indent="0" algn="ctr">
              <a:buNone/>
              <a:defRPr sz="1200">
                <a:solidFill>
                  <a:srgbClr val="0078D4"/>
                </a:solidFill>
              </a:defRPr>
            </a:lvl2pPr>
            <a:lvl3pPr marL="0" indent="0" algn="ctr">
              <a:buNone/>
              <a:defRPr sz="105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EF08950C-6DE8-4C00-B295-6581ECC340D6}"/>
              </a:ext>
            </a:extLst>
          </p:cNvPr>
          <p:cNvSpPr>
            <a:spLocks noGrp="1"/>
          </p:cNvSpPr>
          <p:nvPr>
            <p:ph type="body" sz="quarter" idx="14"/>
          </p:nvPr>
        </p:nvSpPr>
        <p:spPr>
          <a:xfrm>
            <a:off x="281505" y="4544783"/>
            <a:ext cx="2194560" cy="492443"/>
          </a:xfrm>
        </p:spPr>
        <p:txBody>
          <a:bodyPr/>
          <a:lstStyle>
            <a:lvl1pPr marL="0" indent="0" algn="ctr">
              <a:spcAft>
                <a:spcPts val="600"/>
              </a:spcAft>
              <a:buNone/>
              <a:defRPr sz="16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
        <p:nvSpPr>
          <p:cNvPr id="9" name="Text Placeholder 4">
            <a:extLst>
              <a:ext uri="{FF2B5EF4-FFF2-40B4-BE49-F238E27FC236}">
                <a16:creationId xmlns:a16="http://schemas.microsoft.com/office/drawing/2014/main" id="{6D624B7C-7ABB-44CA-BF48-65CA0629A5A4}"/>
              </a:ext>
            </a:extLst>
          </p:cNvPr>
          <p:cNvSpPr>
            <a:spLocks noGrp="1"/>
          </p:cNvSpPr>
          <p:nvPr>
            <p:ph type="body" sz="quarter" idx="15"/>
          </p:nvPr>
        </p:nvSpPr>
        <p:spPr>
          <a:xfrm>
            <a:off x="2683868" y="4544783"/>
            <a:ext cx="2194560" cy="492443"/>
          </a:xfrm>
        </p:spPr>
        <p:txBody>
          <a:bodyPr/>
          <a:lstStyle>
            <a:lvl1pPr marL="0" indent="0" algn="ctr">
              <a:spcAft>
                <a:spcPts val="600"/>
              </a:spcAft>
              <a:buNone/>
              <a:defRPr sz="16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
        <p:nvSpPr>
          <p:cNvPr id="10" name="Text Placeholder 4">
            <a:extLst>
              <a:ext uri="{FF2B5EF4-FFF2-40B4-BE49-F238E27FC236}">
                <a16:creationId xmlns:a16="http://schemas.microsoft.com/office/drawing/2014/main" id="{E9575C75-3C17-43C3-84AF-A93B42395B8F}"/>
              </a:ext>
            </a:extLst>
          </p:cNvPr>
          <p:cNvSpPr>
            <a:spLocks noGrp="1"/>
          </p:cNvSpPr>
          <p:nvPr>
            <p:ph type="body" sz="quarter" idx="16"/>
          </p:nvPr>
        </p:nvSpPr>
        <p:spPr>
          <a:xfrm>
            <a:off x="5086231" y="4544783"/>
            <a:ext cx="2194560" cy="492443"/>
          </a:xfrm>
        </p:spPr>
        <p:txBody>
          <a:bodyPr/>
          <a:lstStyle>
            <a:lvl1pPr marL="0" indent="0" algn="ctr">
              <a:spcAft>
                <a:spcPts val="600"/>
              </a:spcAft>
              <a:buNone/>
              <a:defRPr sz="16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
        <p:nvSpPr>
          <p:cNvPr id="11" name="Text Placeholder 4">
            <a:extLst>
              <a:ext uri="{FF2B5EF4-FFF2-40B4-BE49-F238E27FC236}">
                <a16:creationId xmlns:a16="http://schemas.microsoft.com/office/drawing/2014/main" id="{424D8784-5ED4-473A-BDCF-4677B366ED22}"/>
              </a:ext>
            </a:extLst>
          </p:cNvPr>
          <p:cNvSpPr>
            <a:spLocks noGrp="1"/>
          </p:cNvSpPr>
          <p:nvPr>
            <p:ph type="body" sz="quarter" idx="17"/>
          </p:nvPr>
        </p:nvSpPr>
        <p:spPr>
          <a:xfrm>
            <a:off x="7284120" y="1857226"/>
            <a:ext cx="2194560" cy="855619"/>
          </a:xfrm>
        </p:spPr>
        <p:txBody>
          <a:bodyPr/>
          <a:lstStyle>
            <a:lvl1pPr marL="0" indent="0" algn="ctr">
              <a:buNone/>
              <a:defRPr sz="1400" b="1">
                <a:solidFill>
                  <a:srgbClr val="0078D4"/>
                </a:solidFill>
              </a:defRPr>
            </a:lvl1pPr>
            <a:lvl2pPr marL="0" indent="0" algn="ctr">
              <a:buNone/>
              <a:defRPr sz="1200">
                <a:solidFill>
                  <a:srgbClr val="0078D4"/>
                </a:solidFill>
              </a:defRPr>
            </a:lvl2pPr>
            <a:lvl3pPr marL="0" indent="0" algn="ctr">
              <a:buNone/>
              <a:defRPr sz="105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12" name="Text Placeholder 4">
            <a:extLst>
              <a:ext uri="{FF2B5EF4-FFF2-40B4-BE49-F238E27FC236}">
                <a16:creationId xmlns:a16="http://schemas.microsoft.com/office/drawing/2014/main" id="{D11BF767-268A-4894-B84C-3EF7D7AB30E1}"/>
              </a:ext>
            </a:extLst>
          </p:cNvPr>
          <p:cNvSpPr>
            <a:spLocks noGrp="1"/>
          </p:cNvSpPr>
          <p:nvPr>
            <p:ph type="body" sz="quarter" idx="18"/>
          </p:nvPr>
        </p:nvSpPr>
        <p:spPr>
          <a:xfrm>
            <a:off x="7488594" y="4544783"/>
            <a:ext cx="2194560" cy="492443"/>
          </a:xfrm>
        </p:spPr>
        <p:txBody>
          <a:bodyPr/>
          <a:lstStyle>
            <a:lvl1pPr marL="0" indent="0" algn="ctr">
              <a:spcAft>
                <a:spcPts val="600"/>
              </a:spcAft>
              <a:buNone/>
              <a:defRPr sz="16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
        <p:nvSpPr>
          <p:cNvPr id="13" name="Text Placeholder 3">
            <a:extLst>
              <a:ext uri="{FF2B5EF4-FFF2-40B4-BE49-F238E27FC236}">
                <a16:creationId xmlns:a16="http://schemas.microsoft.com/office/drawing/2014/main" id="{1D32C240-CCEA-40E3-9681-936002399AEB}"/>
              </a:ext>
            </a:extLst>
          </p:cNvPr>
          <p:cNvSpPr>
            <a:spLocks noGrp="1"/>
          </p:cNvSpPr>
          <p:nvPr>
            <p:ph type="body" sz="quarter" idx="10"/>
          </p:nvPr>
        </p:nvSpPr>
        <p:spPr>
          <a:xfrm>
            <a:off x="588963" y="1128911"/>
            <a:ext cx="11521440" cy="307777"/>
          </a:xfrm>
        </p:spPr>
        <p:txBody>
          <a:bodyPr vert="horz" wrap="square" lIns="0" tIns="0" rIns="0" bIns="0" rtlCol="0">
            <a:spAutoFit/>
          </a:bodyPr>
          <a:lstStyle>
            <a:lvl1pPr algn="ctr">
              <a:defRPr lang="en-US" sz="2000" dirty="0">
                <a:solidFill>
                  <a:schemeClr val="tx2"/>
                </a:solidFill>
              </a:defRPr>
            </a:lvl1pPr>
          </a:lstStyle>
          <a:p>
            <a:pPr marL="0" lvl="0" indent="0">
              <a:buNone/>
            </a:pPr>
            <a:r>
              <a:rPr lang="en-US"/>
              <a:t>Click to edit Master text styles</a:t>
            </a:r>
          </a:p>
        </p:txBody>
      </p:sp>
      <p:sp>
        <p:nvSpPr>
          <p:cNvPr id="14" name="Text Placeholder 4">
            <a:extLst>
              <a:ext uri="{FF2B5EF4-FFF2-40B4-BE49-F238E27FC236}">
                <a16:creationId xmlns:a16="http://schemas.microsoft.com/office/drawing/2014/main" id="{1FB4FCD8-3F8F-46AB-96DA-9DA7CA9AD9D2}"/>
              </a:ext>
            </a:extLst>
          </p:cNvPr>
          <p:cNvSpPr>
            <a:spLocks noGrp="1"/>
          </p:cNvSpPr>
          <p:nvPr>
            <p:ph type="body" sz="quarter" idx="19"/>
          </p:nvPr>
        </p:nvSpPr>
        <p:spPr>
          <a:xfrm>
            <a:off x="9618327" y="1857226"/>
            <a:ext cx="2194560" cy="855619"/>
          </a:xfrm>
        </p:spPr>
        <p:txBody>
          <a:bodyPr/>
          <a:lstStyle>
            <a:lvl1pPr marL="0" indent="0" algn="ctr">
              <a:buNone/>
              <a:defRPr sz="1400" b="1">
                <a:solidFill>
                  <a:srgbClr val="0078D4"/>
                </a:solidFill>
              </a:defRPr>
            </a:lvl1pPr>
            <a:lvl2pPr marL="0" indent="0" algn="ctr">
              <a:buNone/>
              <a:defRPr sz="1200">
                <a:solidFill>
                  <a:srgbClr val="0078D4"/>
                </a:solidFill>
              </a:defRPr>
            </a:lvl2pPr>
            <a:lvl3pPr marL="0" indent="0" algn="ctr">
              <a:buNone/>
              <a:defRPr sz="105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15" name="Text Placeholder 4">
            <a:extLst>
              <a:ext uri="{FF2B5EF4-FFF2-40B4-BE49-F238E27FC236}">
                <a16:creationId xmlns:a16="http://schemas.microsoft.com/office/drawing/2014/main" id="{D3C85003-9D1D-41A4-9EED-DECBC82ABAC6}"/>
              </a:ext>
            </a:extLst>
          </p:cNvPr>
          <p:cNvSpPr>
            <a:spLocks noGrp="1"/>
          </p:cNvSpPr>
          <p:nvPr>
            <p:ph type="body" sz="quarter" idx="20"/>
          </p:nvPr>
        </p:nvSpPr>
        <p:spPr>
          <a:xfrm>
            <a:off x="9890956" y="4544783"/>
            <a:ext cx="2194560" cy="492443"/>
          </a:xfrm>
        </p:spPr>
        <p:txBody>
          <a:bodyPr/>
          <a:lstStyle>
            <a:lvl1pPr marL="0" indent="0" algn="ctr">
              <a:spcAft>
                <a:spcPts val="600"/>
              </a:spcAft>
              <a:buNone/>
              <a:defRPr sz="16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
        <p:nvSpPr>
          <p:cNvPr id="3" name="Title 2">
            <a:extLst>
              <a:ext uri="{FF2B5EF4-FFF2-40B4-BE49-F238E27FC236}">
                <a16:creationId xmlns:a16="http://schemas.microsoft.com/office/drawing/2014/main" id="{38418AE1-4874-4718-843D-7C78C1E042BE}"/>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612829010"/>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6469355"/>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525510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2019954"/>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auto">
          <a:xfrm>
            <a:off x="2" y="1099120"/>
            <a:ext cx="4410220" cy="5438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CA" sz="2353">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4410222" y="2"/>
            <a:ext cx="7781778" cy="10991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CA" sz="2353">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6"/>
          <p:cNvSpPr>
            <a:spLocks noGrp="1"/>
          </p:cNvSpPr>
          <p:nvPr>
            <p:ph type="body" sz="quarter" idx="12"/>
          </p:nvPr>
        </p:nvSpPr>
        <p:spPr>
          <a:xfrm>
            <a:off x="4684149" y="1440600"/>
            <a:ext cx="5378548" cy="893237"/>
          </a:xfrm>
        </p:spPr>
        <p:txBody>
          <a:bodyPr/>
          <a:lstStyle>
            <a:lvl1pPr marL="0" indent="0">
              <a:buNone/>
              <a:defRPr sz="2745"/>
            </a:lvl1pPr>
            <a:lvl2pPr>
              <a:defRPr sz="1961"/>
            </a:lvl2pPr>
          </a:lstStyle>
          <a:p>
            <a:pPr lvl="0"/>
            <a:r>
              <a:rPr lang="en-US"/>
              <a:t>Edit Master text styles</a:t>
            </a:r>
          </a:p>
          <a:p>
            <a:pPr lvl="1"/>
            <a:r>
              <a:rPr lang="en-US"/>
              <a:t>Second level</a:t>
            </a:r>
          </a:p>
        </p:txBody>
      </p:sp>
    </p:spTree>
    <p:extLst>
      <p:ext uri="{BB962C8B-B14F-4D97-AF65-F5344CB8AC3E}">
        <p14:creationId xmlns:p14="http://schemas.microsoft.com/office/powerpoint/2010/main" val="3881086016"/>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4107186"/>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8_Title Slide Solid">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Rectangle 5"/>
          <p:cNvSpPr/>
          <p:nvPr userDrawn="1"/>
        </p:nvSpPr>
        <p:spPr bwMode="auto">
          <a:xfrm>
            <a:off x="269239" y="291075"/>
            <a:ext cx="6276530" cy="6278977"/>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08" tIns="143366" rIns="179208" bIns="143366"/>
          <a:lstStyle/>
          <a:p>
            <a:pPr algn="ctr" defTabSz="913587" fontAlgn="base">
              <a:lnSpc>
                <a:spcPct val="90000"/>
              </a:lnSpc>
              <a:spcBef>
                <a:spcPct val="0"/>
              </a:spcBef>
              <a:spcAft>
                <a:spcPct val="0"/>
              </a:spcAft>
              <a:defRPr/>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auto">
          <a:xfrm>
            <a:off x="515140" y="552661"/>
            <a:ext cx="1229472" cy="26285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Title 1"/>
          <p:cNvSpPr>
            <a:spLocks noGrp="1"/>
          </p:cNvSpPr>
          <p:nvPr>
            <p:ph type="ctrTitle"/>
          </p:nvPr>
        </p:nvSpPr>
        <p:spPr>
          <a:xfrm>
            <a:off x="375953" y="1413027"/>
            <a:ext cx="6171371" cy="2488894"/>
          </a:xfrm>
          <a:prstGeom prst="rect">
            <a:avLst/>
          </a:prstGeom>
        </p:spPr>
        <p:txBody>
          <a:bodyPr/>
          <a:lstStyle>
            <a:lvl1pPr>
              <a:defRPr sz="5879" baseline="0">
                <a:solidFill>
                  <a:schemeClr val="bg1"/>
                </a:solidFill>
              </a:defRPr>
            </a:lvl1pPr>
          </a:lstStyle>
          <a:p>
            <a:r>
              <a:rPr lang="en-US"/>
              <a:t>Click to edit Master title style</a:t>
            </a:r>
          </a:p>
        </p:txBody>
      </p:sp>
      <p:sp>
        <p:nvSpPr>
          <p:cNvPr id="19" name="Subtitle 2"/>
          <p:cNvSpPr>
            <a:spLocks noGrp="1"/>
          </p:cNvSpPr>
          <p:nvPr>
            <p:ph type="subTitle" idx="1"/>
          </p:nvPr>
        </p:nvSpPr>
        <p:spPr>
          <a:xfrm>
            <a:off x="375960" y="5389269"/>
            <a:ext cx="5720046" cy="422163"/>
          </a:xfrm>
          <a:prstGeom prst="rect">
            <a:avLst/>
          </a:prstGeom>
        </p:spPr>
        <p:txBody>
          <a:bodyPr anchor="ctr"/>
          <a:lstStyle>
            <a:lvl1pPr marL="0" indent="0" algn="l">
              <a:lnSpc>
                <a:spcPct val="100000"/>
              </a:lnSpc>
              <a:spcBef>
                <a:spcPts val="0"/>
              </a:spcBef>
              <a:buNone/>
              <a:defRPr sz="1567">
                <a:solidFill>
                  <a:schemeClr val="bg1"/>
                </a:solidFill>
                <a:latin typeface="+mj-lt"/>
              </a:defRPr>
            </a:lvl1pPr>
            <a:lvl2pPr marL="447940" indent="0" algn="ctr">
              <a:buNone/>
              <a:defRPr>
                <a:solidFill>
                  <a:schemeClr val="tx1">
                    <a:tint val="75000"/>
                  </a:schemeClr>
                </a:solidFill>
              </a:defRPr>
            </a:lvl2pPr>
            <a:lvl3pPr marL="895880" indent="0" algn="ctr">
              <a:buNone/>
              <a:defRPr>
                <a:solidFill>
                  <a:schemeClr val="tx1">
                    <a:tint val="75000"/>
                  </a:schemeClr>
                </a:solidFill>
              </a:defRPr>
            </a:lvl3pPr>
            <a:lvl4pPr marL="1343820" indent="0" algn="ctr">
              <a:buNone/>
              <a:defRPr>
                <a:solidFill>
                  <a:schemeClr val="tx1">
                    <a:tint val="75000"/>
                  </a:schemeClr>
                </a:solidFill>
              </a:defRPr>
            </a:lvl4pPr>
            <a:lvl5pPr marL="1791762" indent="0" algn="ctr">
              <a:buNone/>
              <a:defRPr>
                <a:solidFill>
                  <a:schemeClr val="tx1">
                    <a:tint val="75000"/>
                  </a:schemeClr>
                </a:solidFill>
              </a:defRPr>
            </a:lvl5pPr>
            <a:lvl6pPr marL="2239703" indent="0" algn="ctr">
              <a:buNone/>
              <a:defRPr>
                <a:solidFill>
                  <a:schemeClr val="tx1">
                    <a:tint val="75000"/>
                  </a:schemeClr>
                </a:solidFill>
              </a:defRPr>
            </a:lvl6pPr>
            <a:lvl7pPr marL="2687642" indent="0" algn="ctr">
              <a:buNone/>
              <a:defRPr>
                <a:solidFill>
                  <a:schemeClr val="tx1">
                    <a:tint val="75000"/>
                  </a:schemeClr>
                </a:solidFill>
              </a:defRPr>
            </a:lvl7pPr>
            <a:lvl8pPr marL="3135582" indent="0" algn="ctr">
              <a:buNone/>
              <a:defRPr>
                <a:solidFill>
                  <a:schemeClr val="tx1">
                    <a:tint val="75000"/>
                  </a:schemeClr>
                </a:solidFill>
              </a:defRPr>
            </a:lvl8pPr>
            <a:lvl9pPr marL="3583522"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04919137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7" y="2"/>
            <a:ext cx="12191377" cy="6858623"/>
          </a:xfrm>
          <a:prstGeom prst="rect">
            <a:avLst/>
          </a:prstGeom>
        </p:spPr>
      </p:pic>
      <p:sp>
        <p:nvSpPr>
          <p:cNvPr id="6" name="Rectangle 5"/>
          <p:cNvSpPr/>
          <p:nvPr userDrawn="1"/>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679" fontAlgn="base">
              <a:spcBef>
                <a:spcPct val="0"/>
              </a:spcBef>
              <a:spcAft>
                <a:spcPct val="0"/>
              </a:spcAft>
            </a:pPr>
            <a:endParaRPr lang="en-US" sz="1961">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40625" y="6171618"/>
            <a:ext cx="4482123"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algn="r" defTabSz="913499" eaLnBrk="0" hangingPunct="0"/>
            <a:r>
              <a:rPr lang="en-US" sz="686">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205" y="5471930"/>
            <a:ext cx="3227129" cy="687975"/>
          </a:xfrm>
          <a:prstGeom prst="rect">
            <a:avLst/>
          </a:prstGeom>
        </p:spPr>
      </p:pic>
    </p:spTree>
    <p:extLst>
      <p:ext uri="{BB962C8B-B14F-4D97-AF65-F5344CB8AC3E}">
        <p14:creationId xmlns:p14="http://schemas.microsoft.com/office/powerpoint/2010/main" val="34251204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116B2613-0004-4124-B373-5BE4EF0D7FAA}" type="datetimeFigureOut">
              <a:rPr lang="en-US" smtClean="0"/>
              <a:t>9/1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20CDB6-D571-4B7A-8800-FAE86F3F0FA1}" type="slidenum">
              <a:rPr lang="en-US" smtClean="0"/>
              <a:t>‹#›</a:t>
            </a:fld>
            <a:endParaRPr lang="en-US"/>
          </a:p>
        </p:txBody>
      </p:sp>
    </p:spTree>
    <p:extLst>
      <p:ext uri="{BB962C8B-B14F-4D97-AF65-F5344CB8AC3E}">
        <p14:creationId xmlns:p14="http://schemas.microsoft.com/office/powerpoint/2010/main" val="314980813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cSld name="17_EXAMPLE ONLY: Title with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3183" y="0"/>
            <a:ext cx="12205183" cy="6858000"/>
          </a:xfrm>
          <a:prstGeom prst="rect">
            <a:avLst/>
          </a:prstGeom>
        </p:spPr>
      </p:pic>
      <p:sp>
        <p:nvSpPr>
          <p:cNvPr id="10" name="Rectangle 9"/>
          <p:cNvSpPr/>
          <p:nvPr userDrawn="1"/>
        </p:nvSpPr>
        <p:spPr bwMode="gray">
          <a:xfrm>
            <a:off x="-15725" y="0"/>
            <a:ext cx="5378548" cy="6858000"/>
          </a:xfrm>
          <a:prstGeom prst="rect">
            <a:avLst/>
          </a:prstGeom>
          <a:solidFill>
            <a:srgbClr val="000000">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658"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1942" y="200781"/>
            <a:ext cx="1947100" cy="716042"/>
          </a:xfrm>
          <a:prstGeom prst="rect">
            <a:avLst/>
          </a:prstGeom>
        </p:spPr>
      </p:pic>
      <p:sp>
        <p:nvSpPr>
          <p:cNvPr id="9" name="Title 1"/>
          <p:cNvSpPr>
            <a:spLocks noGrp="1"/>
          </p:cNvSpPr>
          <p:nvPr>
            <p:ph type="title" hasCustomPrompt="1"/>
          </p:nvPr>
        </p:nvSpPr>
        <p:spPr bwMode="ltGray">
          <a:xfrm>
            <a:off x="150852" y="2057400"/>
            <a:ext cx="521196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2" y="4800602"/>
            <a:ext cx="5211969" cy="914400"/>
          </a:xfrm>
          <a:noFill/>
        </p:spPr>
        <p:txBody>
          <a:bodyPr lIns="137160" tIns="91440">
            <a:noAutofit/>
          </a:bodyPr>
          <a:lstStyle>
            <a:lvl1pPr marL="0" indent="0">
              <a:spcBef>
                <a:spcPts val="0"/>
              </a:spcBef>
              <a:buNone/>
              <a:defRPr sz="2000">
                <a:solidFill>
                  <a:schemeClr val="bg1"/>
                </a:solidFill>
              </a:defRPr>
            </a:lvl1pPr>
            <a:lvl2pPr marL="281566" indent="0">
              <a:buNone/>
              <a:defRPr sz="2000">
                <a:solidFill>
                  <a:schemeClr val="bg1"/>
                </a:solidFill>
              </a:defRPr>
            </a:lvl2pPr>
            <a:lvl3pPr marL="588250" indent="0">
              <a:buNone/>
              <a:defRPr sz="2000">
                <a:solidFill>
                  <a:schemeClr val="bg1"/>
                </a:solidFill>
              </a:defRPr>
            </a:lvl3pPr>
            <a:lvl4pPr marL="869816" indent="0">
              <a:buNone/>
              <a:defRPr sz="2000">
                <a:solidFill>
                  <a:schemeClr val="bg1"/>
                </a:solidFill>
              </a:defRPr>
            </a:lvl4pPr>
            <a:lvl5pPr marL="1105115" indent="0">
              <a:buNone/>
              <a:defRPr sz="2000">
                <a:solidFill>
                  <a:schemeClr val="bg1"/>
                </a:solidFill>
              </a:defRPr>
            </a:lvl5pPr>
          </a:lstStyle>
          <a:p>
            <a:pPr lvl="0"/>
            <a:r>
              <a:rPr lang="en-US"/>
              <a:t>Speaker Name</a:t>
            </a:r>
          </a:p>
        </p:txBody>
      </p:sp>
    </p:spTree>
    <p:extLst>
      <p:ext uri="{BB962C8B-B14F-4D97-AF65-F5344CB8AC3E}">
        <p14:creationId xmlns:p14="http://schemas.microsoft.com/office/powerpoint/2010/main" val="3461468984"/>
      </p:ext>
    </p:extLst>
  </p:cSld>
  <p:clrMapOvr>
    <a:masterClrMapping/>
  </p:clrMapOvr>
  <p:transition>
    <p:fade/>
  </p:transition>
  <p:extLst>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00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513832"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6" name="Picture 5">
            <a:extLst>
              <a:ext uri="{FF2B5EF4-FFF2-40B4-BE49-F238E27FC236}">
                <a16:creationId xmlns:a16="http://schemas.microsoft.com/office/drawing/2014/main" id="{A4234E39-95B3-43C8-A7BD-B3527AA0EC7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93688" y="292100"/>
            <a:ext cx="2199424" cy="866849"/>
          </a:xfrm>
          <a:prstGeom prst="rect">
            <a:avLst/>
          </a:prstGeom>
        </p:spPr>
      </p:pic>
      <p:sp>
        <p:nvSpPr>
          <p:cNvPr id="7" name="Picture Placeholder 3">
            <a:extLst>
              <a:ext uri="{FF2B5EF4-FFF2-40B4-BE49-F238E27FC236}">
                <a16:creationId xmlns:a16="http://schemas.microsoft.com/office/drawing/2014/main" id="{DE1379DF-5F6E-4CF2-BD0F-D309202810C7}"/>
              </a:ext>
            </a:extLst>
          </p:cNvPr>
          <p:cNvSpPr>
            <a:spLocks noGrp="1"/>
          </p:cNvSpPr>
          <p:nvPr>
            <p:ph type="pic" sz="quarter" idx="13" hasCustomPrompt="1"/>
          </p:nvPr>
        </p:nvSpPr>
        <p:spPr>
          <a:xfrm>
            <a:off x="9323388" y="560901"/>
            <a:ext cx="2286000" cy="914400"/>
          </a:xfrm>
        </p:spPr>
        <p:txBody>
          <a:bodyPr anchor="ctr"/>
          <a:lstStyle>
            <a:lvl1pPr marL="0" indent="0" algn="ctr">
              <a:buNone/>
              <a:defRPr sz="2000"/>
            </a:lvl1pPr>
          </a:lstStyle>
          <a:p>
            <a:r>
              <a:rPr lang="en-US"/>
              <a:t>Insert Company Logo</a:t>
            </a:r>
          </a:p>
        </p:txBody>
      </p:sp>
      <p:pic>
        <p:nvPicPr>
          <p:cNvPr id="2" name="Picture 1" descr="A picture containing animal, water, coral&#10;&#10;Description automatically generated">
            <a:extLst>
              <a:ext uri="{FF2B5EF4-FFF2-40B4-BE49-F238E27FC236}">
                <a16:creationId xmlns:a16="http://schemas.microsoft.com/office/drawing/2014/main" id="{4215FEB2-3CE1-4684-B764-7E31E068BF3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29753" y="2331588"/>
            <a:ext cx="6278047" cy="3965511"/>
          </a:xfrm>
          <a:prstGeom prst="rect">
            <a:avLst/>
          </a:prstGeom>
        </p:spPr>
      </p:pic>
    </p:spTree>
    <p:extLst>
      <p:ext uri="{BB962C8B-B14F-4D97-AF65-F5344CB8AC3E}">
        <p14:creationId xmlns:p14="http://schemas.microsoft.com/office/powerpoint/2010/main" val="18076853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2" name="Title 1">
            <a:extLst>
              <a:ext uri="{FF2B5EF4-FFF2-40B4-BE49-F238E27FC236}">
                <a16:creationId xmlns:a16="http://schemas.microsoft.com/office/drawing/2014/main" id="{9541B583-DB81-498A-A279-AEA701D2595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772562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7529158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25288799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announcem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6CC9741-080B-4B46-A228-7DE7ECBDB962}"/>
              </a:ext>
            </a:extLst>
          </p:cNvPr>
          <p:cNvSpPr>
            <a:spLocks noGrp="1"/>
          </p:cNvSpPr>
          <p:nvPr>
            <p:ph type="title"/>
          </p:nvPr>
        </p:nvSpPr>
        <p:spPr/>
        <p:txBody>
          <a:bodyPr/>
          <a:lstStyle>
            <a:lvl1pPr algn="ctr">
              <a:defRPr/>
            </a:lvl1pPr>
          </a:lstStyle>
          <a:p>
            <a:r>
              <a:rPr lang="en-US"/>
              <a:t>Click to edit Master title style</a:t>
            </a:r>
          </a:p>
        </p:txBody>
      </p:sp>
      <p:sp>
        <p:nvSpPr>
          <p:cNvPr id="4" name="Rectangle 3">
            <a:extLst>
              <a:ext uri="{FF2B5EF4-FFF2-40B4-BE49-F238E27FC236}">
                <a16:creationId xmlns:a16="http://schemas.microsoft.com/office/drawing/2014/main" id="{6F9A97A4-93B0-4E83-9F9F-E1114D78616F}"/>
              </a:ext>
            </a:extLst>
          </p:cNvPr>
          <p:cNvSpPr/>
          <p:nvPr userDrawn="1"/>
        </p:nvSpPr>
        <p:spPr bwMode="auto">
          <a:xfrm>
            <a:off x="0" y="1081315"/>
            <a:ext cx="12192000" cy="4468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50873"/>
            <a:ext cx="11025188" cy="307777"/>
          </a:xfrm>
        </p:spPr>
        <p:txBody>
          <a:bodyPr/>
          <a:lstStyle>
            <a:lvl1pPr marL="0" indent="0" algn="ctr">
              <a:buNone/>
              <a:defRPr sz="200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25931082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up)">
                                      <p:cBhvr>
                                        <p:cTn id="10"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build="p">
        <p:tmplLst>
          <p:tmpl lvl="1">
            <p:tnLst>
              <p:par>
                <p:cTn presetID="22" presetClass="entr" presetSubtype="1"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up)">
                      <p:cBhvr>
                        <p:cTn dur="500"/>
                        <p:tgtEl>
                          <p:spTgt spid="3"/>
                        </p:tgtEl>
                      </p:cBhvr>
                    </p:animEffect>
                  </p:childTnLst>
                </p:cTn>
              </p:par>
            </p:tnLst>
          </p:tmpl>
        </p:tmplLst>
      </p:bldP>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announcement - no animation">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6CC9741-080B-4B46-A228-7DE7ECBDB962}"/>
              </a:ext>
            </a:extLst>
          </p:cNvPr>
          <p:cNvSpPr>
            <a:spLocks noGrp="1"/>
          </p:cNvSpPr>
          <p:nvPr>
            <p:ph type="title"/>
          </p:nvPr>
        </p:nvSpPr>
        <p:spPr/>
        <p:txBody>
          <a:bodyPr/>
          <a:lstStyle>
            <a:lvl1pPr algn="ctr">
              <a:defRPr/>
            </a:lvl1pPr>
          </a:lstStyle>
          <a:p>
            <a:r>
              <a:rPr lang="en-US"/>
              <a:t>Click to edit Master title style</a:t>
            </a:r>
          </a:p>
        </p:txBody>
      </p:sp>
      <p:sp>
        <p:nvSpPr>
          <p:cNvPr id="4" name="Rectangle 3">
            <a:extLst>
              <a:ext uri="{FF2B5EF4-FFF2-40B4-BE49-F238E27FC236}">
                <a16:creationId xmlns:a16="http://schemas.microsoft.com/office/drawing/2014/main" id="{6F9A97A4-93B0-4E83-9F9F-E1114D78616F}"/>
              </a:ext>
            </a:extLst>
          </p:cNvPr>
          <p:cNvSpPr/>
          <p:nvPr userDrawn="1"/>
        </p:nvSpPr>
        <p:spPr bwMode="auto">
          <a:xfrm>
            <a:off x="0" y="1081315"/>
            <a:ext cx="12192000" cy="4468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50873"/>
            <a:ext cx="11025188" cy="307777"/>
          </a:xfrm>
        </p:spPr>
        <p:txBody>
          <a:bodyPr/>
          <a:lstStyle>
            <a:lvl1pPr marL="0" indent="0" algn="ctr">
              <a:buNone/>
              <a:defRPr sz="200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14690244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Square Photo ">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solidFill>
                  <a:schemeClr val="tx1"/>
                </a:solidFill>
                <a:latin typeface="+mj-lt"/>
                <a:cs typeface="Segoe UI Semilight" panose="020B0402040204020203" pitchFamily="34" charset="0"/>
              </a:defRPr>
            </a:lvl1pPr>
          </a:lstStyle>
          <a:p>
            <a:r>
              <a:rPr lang="en-US"/>
              <a:t>Square photo layout with Title  </a:t>
            </a:r>
          </a:p>
        </p:txBody>
      </p:sp>
      <p:sp>
        <p:nvSpPr>
          <p:cNvPr id="6" name="Picture Placeholder 4">
            <a:extLst>
              <a:ext uri="{FF2B5EF4-FFF2-40B4-BE49-F238E27FC236}">
                <a16:creationId xmlns:a16="http://schemas.microsoft.com/office/drawing/2014/main" id="{509305E2-982B-438B-8E19-797CC333B5AE}"/>
              </a:ext>
            </a:extLst>
          </p:cNvPr>
          <p:cNvSpPr>
            <a:spLocks noGrp="1"/>
          </p:cNvSpPr>
          <p:nvPr>
            <p:ph type="pic" sz="quarter" idx="11" hasCustomPrompt="1"/>
          </p:nvPr>
        </p:nvSpPr>
        <p:spPr>
          <a:xfrm>
            <a:off x="6325468" y="-8230"/>
            <a:ext cx="5866532" cy="686623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2647"/>
              <a:gd name="connsiteY0" fmla="*/ 6 h 10000"/>
              <a:gd name="connsiteX1" fmla="*/ 12647 w 12647"/>
              <a:gd name="connsiteY1" fmla="*/ 0 h 10000"/>
              <a:gd name="connsiteX2" fmla="*/ 12647 w 12647"/>
              <a:gd name="connsiteY2" fmla="*/ 10000 h 10000"/>
              <a:gd name="connsiteX3" fmla="*/ 2647 w 12647"/>
              <a:gd name="connsiteY3" fmla="*/ 10000 h 10000"/>
              <a:gd name="connsiteX4" fmla="*/ 0 w 12647"/>
              <a:gd name="connsiteY4" fmla="*/ 6 h 10000"/>
              <a:gd name="connsiteX0" fmla="*/ 0 w 12647"/>
              <a:gd name="connsiteY0" fmla="*/ 6 h 10000"/>
              <a:gd name="connsiteX1" fmla="*/ 12647 w 12647"/>
              <a:gd name="connsiteY1" fmla="*/ 0 h 10000"/>
              <a:gd name="connsiteX2" fmla="*/ 12647 w 12647"/>
              <a:gd name="connsiteY2" fmla="*/ 10000 h 10000"/>
              <a:gd name="connsiteX3" fmla="*/ 4468 w 12647"/>
              <a:gd name="connsiteY3" fmla="*/ 10000 h 10000"/>
              <a:gd name="connsiteX4" fmla="*/ 0 w 12647"/>
              <a:gd name="connsiteY4" fmla="*/ 6 h 10000"/>
              <a:gd name="connsiteX0" fmla="*/ 0 w 12647"/>
              <a:gd name="connsiteY0" fmla="*/ 6 h 10000"/>
              <a:gd name="connsiteX1" fmla="*/ 12647 w 12647"/>
              <a:gd name="connsiteY1" fmla="*/ 0 h 10000"/>
              <a:gd name="connsiteX2" fmla="*/ 12647 w 12647"/>
              <a:gd name="connsiteY2" fmla="*/ 10000 h 10000"/>
              <a:gd name="connsiteX3" fmla="*/ 5238 w 12647"/>
              <a:gd name="connsiteY3" fmla="*/ 9987 h 10000"/>
              <a:gd name="connsiteX4" fmla="*/ 0 w 12647"/>
              <a:gd name="connsiteY4" fmla="*/ 6 h 10000"/>
              <a:gd name="connsiteX0" fmla="*/ 0 w 12647"/>
              <a:gd name="connsiteY0" fmla="*/ 6 h 10012"/>
              <a:gd name="connsiteX1" fmla="*/ 12647 w 12647"/>
              <a:gd name="connsiteY1" fmla="*/ 0 h 10012"/>
              <a:gd name="connsiteX2" fmla="*/ 12647 w 12647"/>
              <a:gd name="connsiteY2" fmla="*/ 10000 h 10012"/>
              <a:gd name="connsiteX3" fmla="*/ 5858 w 12647"/>
              <a:gd name="connsiteY3" fmla="*/ 10012 h 10012"/>
              <a:gd name="connsiteX4" fmla="*/ 0 w 12647"/>
              <a:gd name="connsiteY4" fmla="*/ 6 h 10012"/>
              <a:gd name="connsiteX0" fmla="*/ 0 w 12647"/>
              <a:gd name="connsiteY0" fmla="*/ 6 h 10012"/>
              <a:gd name="connsiteX1" fmla="*/ 12647 w 12647"/>
              <a:gd name="connsiteY1" fmla="*/ 0 h 10012"/>
              <a:gd name="connsiteX2" fmla="*/ 12647 w 12647"/>
              <a:gd name="connsiteY2" fmla="*/ 10000 h 10012"/>
              <a:gd name="connsiteX3" fmla="*/ 5820 w 12647"/>
              <a:gd name="connsiteY3" fmla="*/ 10012 h 10012"/>
              <a:gd name="connsiteX4" fmla="*/ 0 w 12647"/>
              <a:gd name="connsiteY4" fmla="*/ 6 h 10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7" h="10012">
                <a:moveTo>
                  <a:pt x="0" y="6"/>
                </a:moveTo>
                <a:lnTo>
                  <a:pt x="12647" y="0"/>
                </a:lnTo>
                <a:lnTo>
                  <a:pt x="12647" y="10000"/>
                </a:lnTo>
                <a:lnTo>
                  <a:pt x="5820" y="10012"/>
                </a:lnTo>
                <a:lnTo>
                  <a:pt x="0" y="6"/>
                </a:lnTo>
                <a:close/>
              </a:path>
            </a:pathLst>
          </a:custGeom>
          <a:blipFill>
            <a:blip r:embed="rId2"/>
            <a:stretch>
              <a:fillRect l="-57395" r="-104560" b="-51820"/>
            </a:stretch>
          </a:blipFill>
        </p:spPr>
        <p:txBody>
          <a:bodyPr lIns="1371600" tIns="1371600" rIns="548640" bIns="182880">
            <a:noAutofit/>
          </a:bodyPr>
          <a:lstStyle>
            <a:lvl1pPr marL="0" marR="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noFill/>
              </a:defRPr>
            </a:lvl1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00" b="0" i="0" u="none" strike="noStrike" kern="1200" cap="none" spc="0" normalizeH="0" baseline="0" noProof="0">
                <a:ln>
                  <a:noFill/>
                </a:ln>
                <a:solidFill>
                  <a:schemeClr val="bg1"/>
                </a:solidFill>
                <a:effectLst/>
                <a:highlight>
                  <a:srgbClr val="000000"/>
                </a:highlight>
                <a:uLnTx/>
                <a:uFillTx/>
                <a:latin typeface="Segoe UI Semilight" panose="020B0402040204020203" pitchFamily="34" charset="0"/>
                <a:ea typeface="+mn-ea"/>
                <a:cs typeface="Segoe UI Semilight" panose="020B0402040204020203" pitchFamily="34" charset="0"/>
              </a:rPr>
              <a:t>drag &amp; drop your photo </a:t>
            </a:r>
            <a:br>
              <a:rPr kumimoji="0" lang="en-US" sz="2800" b="0" i="0" u="none" strike="noStrike" kern="1200" cap="none" spc="0" normalizeH="0" baseline="0" noProof="0">
                <a:ln>
                  <a:noFill/>
                </a:ln>
                <a:solidFill>
                  <a:schemeClr val="bg1"/>
                </a:solidFill>
                <a:effectLst/>
                <a:highlight>
                  <a:srgbClr val="000000"/>
                </a:highligh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a:ln>
                  <a:noFill/>
                </a:ln>
                <a:solidFill>
                  <a:schemeClr val="bg1"/>
                </a:solidFill>
                <a:effectLst/>
                <a:highlight>
                  <a:srgbClr val="000000"/>
                </a:highlight>
                <a:uLnTx/>
                <a:uFillTx/>
                <a:latin typeface="Segoe UI Semilight" panose="020B0402040204020203" pitchFamily="34" charset="0"/>
                <a:ea typeface="+mn-ea"/>
                <a:cs typeface="Segoe UI Semilight" panose="020B0402040204020203" pitchFamily="34" charset="0"/>
              </a:rPr>
              <a:t>here or click or tap icon </a:t>
            </a:r>
            <a:br>
              <a:rPr kumimoji="0" lang="en-US" sz="2800" b="0" i="0" u="none" strike="noStrike" kern="1200" cap="none" spc="0" normalizeH="0" baseline="0" noProof="0">
                <a:ln>
                  <a:noFill/>
                </a:ln>
                <a:solidFill>
                  <a:schemeClr val="bg1"/>
                </a:solidFill>
                <a:effectLst/>
                <a:highlight>
                  <a:srgbClr val="000000"/>
                </a:highligh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a:ln>
                  <a:noFill/>
                </a:ln>
                <a:solidFill>
                  <a:schemeClr val="bg1"/>
                </a:solidFill>
                <a:effectLst/>
                <a:highlight>
                  <a:srgbClr val="000000"/>
                </a:highlight>
                <a:uLnTx/>
                <a:uFillTx/>
                <a:latin typeface="Segoe UI Semilight" panose="020B0402040204020203" pitchFamily="34" charset="0"/>
                <a:ea typeface="+mn-ea"/>
                <a:cs typeface="Segoe UI Semilight" panose="020B0402040204020203" pitchFamily="34" charset="0"/>
              </a:rPr>
              <a:t>below to insert</a:t>
            </a:r>
          </a:p>
          <a:p>
            <a:endParaRPr lang="en-US"/>
          </a:p>
        </p:txBody>
      </p:sp>
    </p:spTree>
    <p:extLst>
      <p:ext uri="{BB962C8B-B14F-4D97-AF65-F5344CB8AC3E}">
        <p14:creationId xmlns:p14="http://schemas.microsoft.com/office/powerpoint/2010/main" val="26869480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3223"/>
            <a:ext cx="548175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5" y="3769821"/>
            <a:ext cx="5481755"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14413901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10421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A10F71A-1F26-4C3C-97E3-66C2CE6A40B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62205" y="2122022"/>
            <a:ext cx="5067591" cy="1997267"/>
          </a:xfrm>
          <a:prstGeom prst="rect">
            <a:avLst/>
          </a:prstGeom>
        </p:spPr>
      </p:pic>
    </p:spTree>
    <p:extLst>
      <p:ext uri="{BB962C8B-B14F-4D97-AF65-F5344CB8AC3E}">
        <p14:creationId xmlns:p14="http://schemas.microsoft.com/office/powerpoint/2010/main" val="2044024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96915234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Tree>
    <p:extLst>
      <p:ext uri="{BB962C8B-B14F-4D97-AF65-F5344CB8AC3E}">
        <p14:creationId xmlns:p14="http://schemas.microsoft.com/office/powerpoint/2010/main" val="37226197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6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434975" y="3701110"/>
            <a:ext cx="10709275" cy="1770356"/>
          </a:xfrm>
        </p:spPr>
        <p:txBody>
          <a:bodyPr/>
          <a:lstStyle>
            <a:lvl1pPr>
              <a:defRPr>
                <a:solidFill>
                  <a:schemeClr val="tx1"/>
                </a:solidFill>
              </a:defRPr>
            </a:lvl1pPr>
            <a:lvl2pPr>
              <a:defRPr>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83869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2_Demo slide">
    <p:bg>
      <p:bgRef idx="1001">
        <a:schemeClr val="bg2"/>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C5EB91-339E-445E-8334-6B444CB396D6}"/>
              </a:ext>
            </a:extLst>
          </p:cNvPr>
          <p:cNvSpPr>
            <a:spLocks noGrp="1"/>
          </p:cNvSpPr>
          <p:nvPr>
            <p:ph type="pic" sz="quarter" idx="13"/>
          </p:nvPr>
        </p:nvSpPr>
        <p:spPr>
          <a:xfrm>
            <a:off x="0" y="0"/>
            <a:ext cx="12192000" cy="6858000"/>
          </a:xfrm>
        </p:spPr>
        <p:txBody>
          <a:bodyPr/>
          <a:lstStyle/>
          <a:p>
            <a:endParaRPr lang="en-US"/>
          </a:p>
        </p:txBody>
      </p:sp>
      <p:sp>
        <p:nvSpPr>
          <p:cNvPr id="2" name="Title 1"/>
          <p:cNvSpPr>
            <a:spLocks noGrp="1"/>
          </p:cNvSpPr>
          <p:nvPr>
            <p:ph type="title" hasCustomPrompt="1"/>
          </p:nvPr>
        </p:nvSpPr>
        <p:spPr>
          <a:xfrm>
            <a:off x="6096000" y="4884703"/>
            <a:ext cx="5481755" cy="498598"/>
          </a:xfrm>
          <a:noFill/>
        </p:spPr>
        <p:txBody>
          <a:bodyPr wrap="square" lIns="0" tIns="0" rIns="0" bIns="0" anchor="b" anchorCtr="0">
            <a:spAutoFit/>
          </a:bodyPr>
          <a:lstStyle>
            <a:lvl1pPr algn="r"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6096000" y="5621301"/>
            <a:ext cx="5481755" cy="307777"/>
          </a:xfrm>
          <a:noFill/>
        </p:spPr>
        <p:txBody>
          <a:bodyPr wrap="square" lIns="0" tIns="0" rIns="0" bIns="0">
            <a:spAutoFit/>
          </a:bodyPr>
          <a:lstStyle>
            <a:lvl1pPr marL="0" indent="0" algn="r">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4207034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Blank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71821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259051025"/>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8970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30216669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centered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Text Placeholder 6">
            <a:extLst>
              <a:ext uri="{FF2B5EF4-FFF2-40B4-BE49-F238E27FC236}">
                <a16:creationId xmlns:a16="http://schemas.microsoft.com/office/drawing/2014/main" id="{98D95393-1804-4E83-8FA6-617CF52B7C1D}"/>
              </a:ext>
            </a:extLst>
          </p:cNvPr>
          <p:cNvSpPr>
            <a:spLocks noGrp="1"/>
          </p:cNvSpPr>
          <p:nvPr>
            <p:ph type="body" sz="quarter" idx="11"/>
          </p:nvPr>
        </p:nvSpPr>
        <p:spPr>
          <a:xfrm>
            <a:off x="584200" y="1014984"/>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221628339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AFAD554-23FC-4F19-93F4-136C88A7E43A}"/>
              </a:ext>
            </a:extLst>
          </p:cNvPr>
          <p:cNvSpPr>
            <a:spLocks noGrp="1"/>
          </p:cNvSpPr>
          <p:nvPr>
            <p:ph type="body" sz="quarter" idx="10"/>
          </p:nvPr>
        </p:nvSpPr>
        <p:spPr>
          <a:xfrm>
            <a:off x="588963" y="157163"/>
            <a:ext cx="11014774" cy="300037"/>
          </a:xfrm>
        </p:spPr>
        <p:txBody>
          <a:bodyPr/>
          <a:lstStyle>
            <a:lvl1pPr marL="0" indent="0" algn="ctr">
              <a:buNone/>
              <a:defRPr lang="en-US" sz="1800" b="0" kern="1200" cap="none" spc="-50" baseline="0" dirty="0" smtClean="0">
                <a:ln w="3175">
                  <a:noFill/>
                </a:ln>
                <a:solidFill>
                  <a:schemeClr val="accent2"/>
                </a:solidFill>
                <a:effectLst/>
                <a:latin typeface="+mj-lt"/>
                <a:ea typeface="+mn-ea"/>
                <a:cs typeface="Segoe UI" pitchFamily="34" charset="0"/>
              </a:defRPr>
            </a:lvl1pPr>
            <a:lvl2pPr marL="228600" indent="0">
              <a:buNone/>
              <a:defRPr lang="en-US" sz="1800" b="0" kern="1200" cap="none" spc="-50" baseline="0" dirty="0" smtClean="0">
                <a:ln w="3175">
                  <a:noFill/>
                </a:ln>
                <a:solidFill>
                  <a:schemeClr val="accent2"/>
                </a:solidFill>
                <a:effectLst/>
                <a:latin typeface="+mj-lt"/>
                <a:ea typeface="+mn-ea"/>
                <a:cs typeface="Segoe UI" pitchFamily="34" charset="0"/>
              </a:defRPr>
            </a:lvl2pPr>
            <a:lvl3pPr marL="457200" indent="0">
              <a:buNone/>
              <a:defRPr lang="en-US" sz="1800" b="0" kern="1200" cap="none" spc="-50" baseline="0" dirty="0" smtClean="0">
                <a:ln w="3175">
                  <a:noFill/>
                </a:ln>
                <a:solidFill>
                  <a:schemeClr val="accent2"/>
                </a:solidFill>
                <a:effectLst/>
                <a:latin typeface="+mj-lt"/>
                <a:ea typeface="+mn-ea"/>
                <a:cs typeface="Segoe UI" pitchFamily="34" charset="0"/>
              </a:defRPr>
            </a:lvl3pPr>
            <a:lvl4pPr marL="661988" indent="0">
              <a:buNone/>
              <a:defRPr lang="en-US" sz="1800" b="0" kern="1200" cap="none" spc="-50" baseline="0" dirty="0" smtClean="0">
                <a:ln w="3175">
                  <a:noFill/>
                </a:ln>
                <a:solidFill>
                  <a:schemeClr val="accent2"/>
                </a:solidFill>
                <a:effectLst/>
                <a:latin typeface="+mj-lt"/>
                <a:ea typeface="+mn-ea"/>
                <a:cs typeface="Segoe UI" pitchFamily="34" charset="0"/>
              </a:defRPr>
            </a:lvl4pPr>
            <a:lvl5pPr marL="855663" indent="0">
              <a:buNone/>
              <a:defRPr lang="en-US" sz="1800" b="0" kern="1200" cap="none" spc="-50" baseline="0" dirty="0" smtClean="0">
                <a:ln w="3175">
                  <a:noFill/>
                </a:ln>
                <a:solidFill>
                  <a:schemeClr val="accent2"/>
                </a:solidFill>
                <a:effectLst/>
                <a:latin typeface="+mj-lt"/>
                <a:ea typeface="+mn-ea"/>
                <a:cs typeface="Segoe UI" pitchFamily="34" charset="0"/>
              </a:defRPr>
            </a:lvl5pPr>
          </a:lstStyle>
          <a:p>
            <a:pPr lvl="0"/>
            <a:r>
              <a:rPr lang="en-US"/>
              <a:t>Click to edit Master text styles</a:t>
            </a:r>
          </a:p>
        </p:txBody>
      </p:sp>
    </p:spTree>
    <p:extLst>
      <p:ext uri="{BB962C8B-B14F-4D97-AF65-F5344CB8AC3E}">
        <p14:creationId xmlns:p14="http://schemas.microsoft.com/office/powerpoint/2010/main" val="37103982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Picture Placeholder 3">
            <a:extLst>
              <a:ext uri="{FF2B5EF4-FFF2-40B4-BE49-F238E27FC236}">
                <a16:creationId xmlns:a16="http://schemas.microsoft.com/office/drawing/2014/main" id="{5D250250-5711-4AA8-8992-0737DBF03E14}"/>
              </a:ext>
            </a:extLst>
          </p:cNvPr>
          <p:cNvSpPr>
            <a:spLocks noGrp="1" noChangeAspect="1"/>
          </p:cNvSpPr>
          <p:nvPr>
            <p:ph type="pic" sz="quarter" idx="10"/>
          </p:nvPr>
        </p:nvSpPr>
        <p:spPr>
          <a:xfrm>
            <a:off x="-2265452" y="2017713"/>
            <a:ext cx="1828800" cy="1828800"/>
          </a:xfrm>
          <a:prstGeom prst="ellipse">
            <a:avLst/>
          </a:prstGeom>
        </p:spPr>
        <p:txBody>
          <a:bodyPr>
            <a:noAutofit/>
          </a:bodyPr>
          <a:lstStyle/>
          <a:p>
            <a:endParaRPr lang="en-US"/>
          </a:p>
        </p:txBody>
      </p:sp>
    </p:spTree>
    <p:extLst>
      <p:ext uri="{BB962C8B-B14F-4D97-AF65-F5344CB8AC3E}">
        <p14:creationId xmlns:p14="http://schemas.microsoft.com/office/powerpoint/2010/main" val="37186263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206307"/>
            <a:ext cx="3477325" cy="1107996"/>
          </a:xfrm>
        </p:spPr>
        <p:txBody>
          <a:bodyPr anchor="b"/>
          <a:lstStyle>
            <a:lvl1pPr algn="l">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372E9528-0A41-4157-9220-1A280716491F}"/>
              </a:ext>
            </a:extLst>
          </p:cNvPr>
          <p:cNvSpPr>
            <a:spLocks noGrp="1"/>
          </p:cNvSpPr>
          <p:nvPr>
            <p:ph type="body" sz="quarter" idx="10"/>
          </p:nvPr>
        </p:nvSpPr>
        <p:spPr>
          <a:xfrm>
            <a:off x="588963" y="3429000"/>
            <a:ext cx="3560762" cy="2111347"/>
          </a:xfrm>
        </p:spPr>
        <p:txBody>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06736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7115038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7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1831912"/>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8405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Blank with gri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04230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FCBB8A-43FF-4FAD-8146-B3FC3CE8161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2F3339-2E60-45E7-85B9-9A09601112A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345B1EB-FDA6-4FEA-BEFB-6146B0B8D554}"/>
              </a:ext>
            </a:extLst>
          </p:cNvPr>
          <p:cNvSpPr>
            <a:spLocks noGrp="1"/>
          </p:cNvSpPr>
          <p:nvPr>
            <p:ph type="dt" sz="half" idx="10"/>
          </p:nvPr>
        </p:nvSpPr>
        <p:spPr/>
        <p:txBody>
          <a:bodyPr/>
          <a:lstStyle/>
          <a:p>
            <a:fld id="{F44CF727-3F6A-46DB-9A8A-2DA693660347}" type="datetimeFigureOut">
              <a:rPr lang="en-US" smtClean="0"/>
              <a:t>9/14/2021</a:t>
            </a:fld>
            <a:endParaRPr lang="en-US"/>
          </a:p>
        </p:txBody>
      </p:sp>
      <p:sp>
        <p:nvSpPr>
          <p:cNvPr id="5" name="Footer Placeholder 4">
            <a:extLst>
              <a:ext uri="{FF2B5EF4-FFF2-40B4-BE49-F238E27FC236}">
                <a16:creationId xmlns:a16="http://schemas.microsoft.com/office/drawing/2014/main" id="{A8C0C25B-D2E0-498D-9B70-A8B5EE882FA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D95013-EBE2-4B82-9BBC-E224646C426D}"/>
              </a:ext>
            </a:extLst>
          </p:cNvPr>
          <p:cNvSpPr>
            <a:spLocks noGrp="1"/>
          </p:cNvSpPr>
          <p:nvPr>
            <p:ph type="sldNum" sz="quarter" idx="12"/>
          </p:nvPr>
        </p:nvSpPr>
        <p:spPr/>
        <p:txBody>
          <a:bodyPr/>
          <a:lstStyle/>
          <a:p>
            <a:fld id="{5223CF42-7CC2-4721-A100-A16673B7FEF2}" type="slidenum">
              <a:rPr lang="en-US" smtClean="0"/>
              <a:t>‹#›</a:t>
            </a:fld>
            <a:endParaRPr lang="en-US"/>
          </a:p>
        </p:txBody>
      </p:sp>
    </p:spTree>
    <p:extLst>
      <p:ext uri="{BB962C8B-B14F-4D97-AF65-F5344CB8AC3E}">
        <p14:creationId xmlns:p14="http://schemas.microsoft.com/office/powerpoint/2010/main" val="253261044"/>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Title - Square Photo ">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861D753B-EABE-44E2-808A-4CF84908047C}"/>
              </a:ext>
            </a:extLst>
          </p:cNvPr>
          <p:cNvSpPr>
            <a:spLocks noGrp="1"/>
          </p:cNvSpPr>
          <p:nvPr>
            <p:ph type="pic" sz="quarter" idx="17"/>
          </p:nvPr>
        </p:nvSpPr>
        <p:spPr>
          <a:xfrm>
            <a:off x="8305800" y="1932518"/>
            <a:ext cx="1828800" cy="914400"/>
          </a:xfrm>
        </p:spPr>
        <p:txBody>
          <a:bodyPr/>
          <a:lstStyle>
            <a:lvl1pPr marL="0" indent="0">
              <a:buNone/>
              <a:defRPr/>
            </a:lvl1pPr>
          </a:lstStyle>
          <a:p>
            <a:endParaRPr lang="en-US"/>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84200" y="700901"/>
            <a:ext cx="5669280" cy="5669280"/>
          </a:xfrm>
          <a:blipFill>
            <a:blip r:embed="rId2"/>
            <a:srcRect/>
            <a:stretch>
              <a:fillRect t="-787" b="-787"/>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9" name="Text Placeholder 8">
            <a:extLst>
              <a:ext uri="{FF2B5EF4-FFF2-40B4-BE49-F238E27FC236}">
                <a16:creationId xmlns:a16="http://schemas.microsoft.com/office/drawing/2014/main" id="{30BFC3D0-CDC9-4169-9C2C-CD93C86E548C}"/>
              </a:ext>
            </a:extLst>
          </p:cNvPr>
          <p:cNvSpPr>
            <a:spLocks noGrp="1"/>
          </p:cNvSpPr>
          <p:nvPr>
            <p:ph type="body" sz="quarter" idx="15" hasCustomPrompt="1"/>
          </p:nvPr>
        </p:nvSpPr>
        <p:spPr>
          <a:xfrm>
            <a:off x="7144018" y="3123917"/>
            <a:ext cx="4157443" cy="610167"/>
          </a:xfrm>
        </p:spPr>
        <p:txBody>
          <a:bodyPr anchor="ctr" anchorCtr="0"/>
          <a:lstStyle>
            <a:lvl1pPr marL="0" marR="0" indent="0" algn="l" defTabSz="914367" rtl="0" eaLnBrk="1" fontAlgn="auto" latinLnBrk="0" hangingPunct="1">
              <a:lnSpc>
                <a:spcPct val="100000"/>
              </a:lnSpc>
              <a:spcBef>
                <a:spcPts val="0"/>
              </a:spcBef>
              <a:spcAft>
                <a:spcPts val="0"/>
              </a:spcAft>
              <a:buClrTx/>
              <a:buSzTx/>
              <a:buFontTx/>
              <a:buNone/>
              <a:tabLst/>
              <a:defRPr sz="2200">
                <a:latin typeface="Segoe UI Semibold" panose="020B0702040204020203" pitchFamily="34" charset="0"/>
                <a:cs typeface="Segoe UI Semibold" panose="020B0702040204020203" pitchFamily="34" charset="0"/>
              </a:defRPr>
            </a:lvl1pPr>
            <a:lvl4pPr marL="661988" indent="0">
              <a:buNone/>
              <a:defRPr/>
            </a:lvl4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a:ea typeface="+mn-ea"/>
                <a:cs typeface="+mn-cs"/>
              </a:rPr>
              <a:t>“Insert customer quote here”</a:t>
            </a:r>
          </a:p>
          <a:p>
            <a:pPr lvl="0"/>
            <a:endParaRPr lang="en-US"/>
          </a:p>
        </p:txBody>
      </p:sp>
      <p:sp>
        <p:nvSpPr>
          <p:cNvPr id="11" name="Text Placeholder 3">
            <a:extLst>
              <a:ext uri="{FF2B5EF4-FFF2-40B4-BE49-F238E27FC236}">
                <a16:creationId xmlns:a16="http://schemas.microsoft.com/office/drawing/2014/main" id="{B2DC6892-ADE2-4650-9E4E-6C2E40E2D69E}"/>
              </a:ext>
            </a:extLst>
          </p:cNvPr>
          <p:cNvSpPr>
            <a:spLocks noGrp="1"/>
          </p:cNvSpPr>
          <p:nvPr>
            <p:ph type="body" sz="quarter" idx="16" hasCustomPrompt="1"/>
          </p:nvPr>
        </p:nvSpPr>
        <p:spPr>
          <a:xfrm>
            <a:off x="7141527" y="4011083"/>
            <a:ext cx="4162425" cy="276999"/>
          </a:xfrm>
        </p:spPr>
        <p:txBody>
          <a:bodyPr/>
          <a:lstStyle>
            <a:lvl1pPr marL="0" indent="0">
              <a:buFont typeface="Arial" panose="020B0604020202020204" pitchFamily="34" charset="0"/>
              <a:buNone/>
              <a:defRPr sz="1800">
                <a:solidFill>
                  <a:schemeClr val="accent1"/>
                </a:solidFill>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xecutive Name, Title</a:t>
            </a:r>
          </a:p>
        </p:txBody>
      </p:sp>
    </p:spTree>
    <p:extLst>
      <p:ext uri="{BB962C8B-B14F-4D97-AF65-F5344CB8AC3E}">
        <p14:creationId xmlns:p14="http://schemas.microsoft.com/office/powerpoint/2010/main" val="213240125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3_Custom Layout">
    <p:bg>
      <p:bgRef idx="1001">
        <a:schemeClr val="bg1"/>
      </p:bgRef>
    </p:bg>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CB193CD0-E47B-4D43-87BE-F215B28BD151}"/>
              </a:ext>
            </a:extLst>
          </p:cNvPr>
          <p:cNvSpPr>
            <a:spLocks noGrp="1"/>
          </p:cNvSpPr>
          <p:nvPr>
            <p:ph type="media" sz="quarter" idx="12"/>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1831912"/>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34314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458686"/>
            <a:ext cx="3574143" cy="2152877"/>
          </a:xfrm>
        </p:spPr>
        <p:txBody>
          <a:bodyPr/>
          <a:lstStyle>
            <a:lvl1pPr>
              <a:defRPr>
                <a:solidFill>
                  <a:schemeClr val="tx1"/>
                </a:solidFill>
              </a:defRPr>
            </a:lvl1pPr>
            <a:lvl2pPr>
              <a:defRPr>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4FDF3A4-4907-4D85-9CB8-E35F1BDF91B4}"/>
              </a:ext>
            </a:extLst>
          </p:cNvPr>
          <p:cNvSpPr>
            <a:spLocks noGrp="1"/>
          </p:cNvSpPr>
          <p:nvPr>
            <p:ph type="title"/>
          </p:nvPr>
        </p:nvSpPr>
        <p:spPr>
          <a:xfrm>
            <a:off x="566057" y="444500"/>
            <a:ext cx="3574143" cy="758825"/>
          </a:xfrm>
        </p:spPr>
        <p:txBody>
          <a:bodyPr anchor="b"/>
          <a:lstStyle>
            <a:lvl1pPr algn="l">
              <a:defRPr/>
            </a:lvl1pPr>
          </a:lstStyle>
          <a:p>
            <a:r>
              <a:rPr lang="en-US"/>
              <a:t>Click to edit Master</a:t>
            </a:r>
          </a:p>
        </p:txBody>
      </p:sp>
    </p:spTree>
    <p:extLst>
      <p:ext uri="{BB962C8B-B14F-4D97-AF65-F5344CB8AC3E}">
        <p14:creationId xmlns:p14="http://schemas.microsoft.com/office/powerpoint/2010/main" val="1992566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9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444500"/>
            <a:ext cx="3574143" cy="3167063"/>
          </a:xfrm>
        </p:spPr>
        <p:txBody>
          <a:bodyPr/>
          <a:lstStyle>
            <a:lvl1pPr>
              <a:defRPr>
                <a:solidFill>
                  <a:schemeClr val="tx1"/>
                </a:solidFill>
              </a:defRPr>
            </a:lvl1pPr>
            <a:lvl2pPr>
              <a:defRPr>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56348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2" name="Title 1">
            <a:extLst>
              <a:ext uri="{FF2B5EF4-FFF2-40B4-BE49-F238E27FC236}">
                <a16:creationId xmlns:a16="http://schemas.microsoft.com/office/drawing/2014/main" id="{3C632D56-5849-4DE7-BD5B-8568267285D6}"/>
              </a:ext>
            </a:extLst>
          </p:cNvPr>
          <p:cNvSpPr>
            <a:spLocks noGrp="1"/>
          </p:cNvSpPr>
          <p:nvPr>
            <p:ph type="title"/>
          </p:nvPr>
        </p:nvSpPr>
        <p:spPr>
          <a:xfrm>
            <a:off x="426424" y="2865325"/>
            <a:ext cx="10021275" cy="744014"/>
          </a:xfrm>
        </p:spPr>
        <p:txBody>
          <a:bodyPr/>
          <a:lstStyle>
            <a:lvl1pPr algn="l">
              <a:defRPr sz="4000"/>
            </a:lvl1pPr>
          </a:lstStyle>
          <a:p>
            <a:r>
              <a:rPr lang="en-US"/>
              <a:t>Click to edit Master title style</a:t>
            </a:r>
          </a:p>
        </p:txBody>
      </p:sp>
    </p:spTree>
    <p:extLst>
      <p:ext uri="{BB962C8B-B14F-4D97-AF65-F5344CB8AC3E}">
        <p14:creationId xmlns:p14="http://schemas.microsoft.com/office/powerpoint/2010/main" val="14426065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1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Tree>
    <p:extLst>
      <p:ext uri="{BB962C8B-B14F-4D97-AF65-F5344CB8AC3E}">
        <p14:creationId xmlns:p14="http://schemas.microsoft.com/office/powerpoint/2010/main" val="34345233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7" y="2540313"/>
            <a:ext cx="9401560" cy="1793104"/>
          </a:xfrm>
          <a:noFill/>
        </p:spPr>
        <p:txBody>
          <a:bodyPr lIns="0" tIns="0" rIns="0" bIns="182880" anchor="b" anchorCtr="0"/>
          <a:lstStyle>
            <a:lvl1pPr>
              <a:defRPr sz="5291"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7" y="4342827"/>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5" name="Picture 4">
            <a:extLst>
              <a:ext uri="{FF2B5EF4-FFF2-40B4-BE49-F238E27FC236}">
                <a16:creationId xmlns:a16="http://schemas.microsoft.com/office/drawing/2014/main" id="{588C950A-4A3C-4BAC-B975-217A5615843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811066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0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5159375" cy="6858000"/>
          </a:xfrm>
        </p:spPr>
        <p:txBody>
          <a:bodyPr/>
          <a:lstStyle/>
          <a:p>
            <a:endParaRPr lang="en-US"/>
          </a:p>
        </p:txBody>
      </p:sp>
      <p:sp>
        <p:nvSpPr>
          <p:cNvPr id="5" name="Picture Placeholder 4">
            <a:extLst>
              <a:ext uri="{FF2B5EF4-FFF2-40B4-BE49-F238E27FC236}">
                <a16:creationId xmlns:a16="http://schemas.microsoft.com/office/drawing/2014/main" id="{398EBB2A-BE63-42A1-AB17-F835A399E11D}"/>
              </a:ext>
            </a:extLst>
          </p:cNvPr>
          <p:cNvSpPr>
            <a:spLocks noGrp="1"/>
          </p:cNvSpPr>
          <p:nvPr>
            <p:ph type="pic" sz="quarter" idx="11"/>
          </p:nvPr>
        </p:nvSpPr>
        <p:spPr>
          <a:xfrm>
            <a:off x="5159375" y="0"/>
            <a:ext cx="2346325" cy="6934200"/>
          </a:xfrm>
        </p:spPr>
        <p:txBody>
          <a:bodyPr/>
          <a:lstStyle/>
          <a:p>
            <a:endParaRPr lang="en-US"/>
          </a:p>
        </p:txBody>
      </p:sp>
      <p:sp>
        <p:nvSpPr>
          <p:cNvPr id="6" name="Picture Placeholder 4">
            <a:extLst>
              <a:ext uri="{FF2B5EF4-FFF2-40B4-BE49-F238E27FC236}">
                <a16:creationId xmlns:a16="http://schemas.microsoft.com/office/drawing/2014/main" id="{5A184A74-9693-4FDD-AB9B-A9D66017BCCD}"/>
              </a:ext>
            </a:extLst>
          </p:cNvPr>
          <p:cNvSpPr>
            <a:spLocks noGrp="1"/>
          </p:cNvSpPr>
          <p:nvPr>
            <p:ph type="pic" sz="quarter" idx="12"/>
          </p:nvPr>
        </p:nvSpPr>
        <p:spPr>
          <a:xfrm>
            <a:off x="7505700" y="0"/>
            <a:ext cx="2346325" cy="6934200"/>
          </a:xfrm>
        </p:spPr>
        <p:txBody>
          <a:bodyPr/>
          <a:lstStyle/>
          <a:p>
            <a:endParaRPr lang="en-US"/>
          </a:p>
        </p:txBody>
      </p:sp>
      <p:sp>
        <p:nvSpPr>
          <p:cNvPr id="7" name="Picture Placeholder 4">
            <a:extLst>
              <a:ext uri="{FF2B5EF4-FFF2-40B4-BE49-F238E27FC236}">
                <a16:creationId xmlns:a16="http://schemas.microsoft.com/office/drawing/2014/main" id="{6BC4F8ED-8DBC-42D6-A9B0-83BA6809E274}"/>
              </a:ext>
            </a:extLst>
          </p:cNvPr>
          <p:cNvSpPr>
            <a:spLocks noGrp="1"/>
          </p:cNvSpPr>
          <p:nvPr>
            <p:ph type="pic" sz="quarter" idx="13"/>
          </p:nvPr>
        </p:nvSpPr>
        <p:spPr>
          <a:xfrm>
            <a:off x="9852025" y="0"/>
            <a:ext cx="2346325" cy="6934200"/>
          </a:xfrm>
        </p:spPr>
        <p:txBody>
          <a:bodyPr/>
          <a:lstStyle/>
          <a:p>
            <a:endParaRPr lang="en-US"/>
          </a:p>
        </p:txBody>
      </p:sp>
    </p:spTree>
    <p:extLst>
      <p:ext uri="{BB962C8B-B14F-4D97-AF65-F5344CB8AC3E}">
        <p14:creationId xmlns:p14="http://schemas.microsoft.com/office/powerpoint/2010/main" val="20695781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3376613"/>
          </a:xfrm>
        </p:spPr>
        <p:txBody>
          <a:bodyPr/>
          <a:lstStyle/>
          <a:p>
            <a:endParaRPr lang="en-US"/>
          </a:p>
        </p:txBody>
      </p:sp>
      <p:sp>
        <p:nvSpPr>
          <p:cNvPr id="5" name="Picture Placeholder 3">
            <a:extLst>
              <a:ext uri="{FF2B5EF4-FFF2-40B4-BE49-F238E27FC236}">
                <a16:creationId xmlns:a16="http://schemas.microsoft.com/office/drawing/2014/main" id="{F393622E-053F-4B58-9CEA-9CFFD9B7A995}"/>
              </a:ext>
            </a:extLst>
          </p:cNvPr>
          <p:cNvSpPr>
            <a:spLocks noGrp="1"/>
          </p:cNvSpPr>
          <p:nvPr>
            <p:ph type="pic" sz="quarter" idx="11"/>
          </p:nvPr>
        </p:nvSpPr>
        <p:spPr>
          <a:xfrm>
            <a:off x="0" y="3376613"/>
            <a:ext cx="12192000" cy="3481387"/>
          </a:xfrm>
        </p:spPr>
        <p:txBody>
          <a:bodyPr/>
          <a:lstStyle/>
          <a:p>
            <a:endParaRPr lang="en-US"/>
          </a:p>
        </p:txBody>
      </p:sp>
      <p:sp>
        <p:nvSpPr>
          <p:cNvPr id="2" name="Title 1">
            <a:extLst>
              <a:ext uri="{FF2B5EF4-FFF2-40B4-BE49-F238E27FC236}">
                <a16:creationId xmlns:a16="http://schemas.microsoft.com/office/drawing/2014/main" id="{3C632D56-5849-4DE7-BD5B-8568267285D6}"/>
              </a:ext>
            </a:extLst>
          </p:cNvPr>
          <p:cNvSpPr>
            <a:spLocks noGrp="1"/>
          </p:cNvSpPr>
          <p:nvPr>
            <p:ph type="title"/>
          </p:nvPr>
        </p:nvSpPr>
        <p:spPr>
          <a:xfrm>
            <a:off x="426424" y="3004606"/>
            <a:ext cx="10021275" cy="744014"/>
          </a:xfrm>
        </p:spPr>
        <p:txBody>
          <a:bodyPr/>
          <a:lstStyle/>
          <a:p>
            <a:r>
              <a:rPr lang="en-US"/>
              <a:t>Click to edit Master title style</a:t>
            </a:r>
          </a:p>
        </p:txBody>
      </p:sp>
    </p:spTree>
    <p:extLst>
      <p:ext uri="{BB962C8B-B14F-4D97-AF65-F5344CB8AC3E}">
        <p14:creationId xmlns:p14="http://schemas.microsoft.com/office/powerpoint/2010/main" val="16262416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2_Custom Layout">
    <p:bg>
      <p:bgPr>
        <a:blipFill dpi="0" rotWithShape="1">
          <a:blip r:embed="rId2">
            <a:lum/>
          </a:blip>
          <a:srcRect/>
          <a:stretch>
            <a:fillRect l="-1000"/>
          </a:stretch>
        </a:blip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0F3AC97-0C18-400C-84B8-F6A333AF5D98}"/>
              </a:ext>
            </a:extLst>
          </p:cNvPr>
          <p:cNvSpPr/>
          <p:nvPr userDrawn="1"/>
        </p:nvSpPr>
        <p:spPr bwMode="auto">
          <a:xfrm>
            <a:off x="2179638" y="-1"/>
            <a:ext cx="10103488"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Picture Placeholder 3">
            <a:extLst>
              <a:ext uri="{FF2B5EF4-FFF2-40B4-BE49-F238E27FC236}">
                <a16:creationId xmlns:a16="http://schemas.microsoft.com/office/drawing/2014/main" id="{0BF58BED-EFFA-40F7-A570-E5C099A0FFEE}"/>
              </a:ext>
            </a:extLst>
          </p:cNvPr>
          <p:cNvSpPr>
            <a:spLocks noGrp="1"/>
          </p:cNvSpPr>
          <p:nvPr>
            <p:ph type="pic" sz="quarter" idx="10"/>
          </p:nvPr>
        </p:nvSpPr>
        <p:spPr>
          <a:xfrm>
            <a:off x="2179638" y="-1"/>
            <a:ext cx="3291840" cy="4261900"/>
          </a:xfrm>
        </p:spPr>
        <p:txBody>
          <a:bodyPr/>
          <a:lstStyle/>
          <a:p>
            <a:endParaRPr lang="en-US"/>
          </a:p>
        </p:txBody>
      </p:sp>
      <p:sp>
        <p:nvSpPr>
          <p:cNvPr id="5" name="Picture Placeholder 3">
            <a:extLst>
              <a:ext uri="{FF2B5EF4-FFF2-40B4-BE49-F238E27FC236}">
                <a16:creationId xmlns:a16="http://schemas.microsoft.com/office/drawing/2014/main" id="{260CB0CE-5A4B-4B06-946C-363C8B633ECE}"/>
              </a:ext>
            </a:extLst>
          </p:cNvPr>
          <p:cNvSpPr>
            <a:spLocks noGrp="1"/>
          </p:cNvSpPr>
          <p:nvPr>
            <p:ph type="pic" sz="quarter" idx="11"/>
          </p:nvPr>
        </p:nvSpPr>
        <p:spPr>
          <a:xfrm>
            <a:off x="5528903" y="-1"/>
            <a:ext cx="3291840" cy="4261900"/>
          </a:xfrm>
        </p:spPr>
        <p:txBody>
          <a:bodyPr/>
          <a:lstStyle/>
          <a:p>
            <a:endParaRPr lang="en-US"/>
          </a:p>
        </p:txBody>
      </p:sp>
      <p:sp>
        <p:nvSpPr>
          <p:cNvPr id="6" name="Picture Placeholder 3">
            <a:extLst>
              <a:ext uri="{FF2B5EF4-FFF2-40B4-BE49-F238E27FC236}">
                <a16:creationId xmlns:a16="http://schemas.microsoft.com/office/drawing/2014/main" id="{ED69088A-F7A5-47E5-89BE-2EDE66FE2014}"/>
              </a:ext>
            </a:extLst>
          </p:cNvPr>
          <p:cNvSpPr>
            <a:spLocks noGrp="1"/>
          </p:cNvSpPr>
          <p:nvPr>
            <p:ph type="pic" sz="quarter" idx="12"/>
          </p:nvPr>
        </p:nvSpPr>
        <p:spPr>
          <a:xfrm>
            <a:off x="8878168" y="-1"/>
            <a:ext cx="3291840" cy="4261900"/>
          </a:xfrm>
        </p:spPr>
        <p:txBody>
          <a:bodyPr/>
          <a:lstStyle/>
          <a:p>
            <a:endParaRPr lang="en-US"/>
          </a:p>
        </p:txBody>
      </p:sp>
      <p:sp>
        <p:nvSpPr>
          <p:cNvPr id="8" name="Text Placeholder 4">
            <a:extLst>
              <a:ext uri="{FF2B5EF4-FFF2-40B4-BE49-F238E27FC236}">
                <a16:creationId xmlns:a16="http://schemas.microsoft.com/office/drawing/2014/main" id="{FA2C1B48-7DD1-4BCA-8405-1E570D021337}"/>
              </a:ext>
            </a:extLst>
          </p:cNvPr>
          <p:cNvSpPr>
            <a:spLocks noGrp="1"/>
          </p:cNvSpPr>
          <p:nvPr>
            <p:ph type="body" sz="quarter" idx="13"/>
          </p:nvPr>
        </p:nvSpPr>
        <p:spPr>
          <a:xfrm>
            <a:off x="2413539" y="4953665"/>
            <a:ext cx="7841711" cy="1708801"/>
          </a:xfrm>
        </p:spPr>
        <p:txBody>
          <a:bodyPr/>
          <a:lstStyle>
            <a:lvl1pPr>
              <a:defRPr sz="2000">
                <a:solidFill>
                  <a:schemeClr val="tx1"/>
                </a:solidFill>
              </a:defRPr>
            </a:lvl1pPr>
            <a:lvl2pPr>
              <a:defRPr>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4061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Slide">
    <p:bg>
      <p:bgPr>
        <a:blipFill dpi="0" rotWithShape="1">
          <a:blip r:embed="rId2">
            <a:lum/>
          </a:blip>
          <a:srcRect/>
          <a:stretch>
            <a:fillRect l="-1000"/>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D056E7-DF2F-D84E-BCAA-821E02159591}"/>
              </a:ext>
            </a:extLst>
          </p:cNvPr>
          <p:cNvSpPr/>
          <p:nvPr userDrawn="1"/>
        </p:nvSpPr>
        <p:spPr>
          <a:xfrm>
            <a:off x="0" y="0"/>
            <a:ext cx="12198096"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417218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2"/>
            <a:ext cx="3630521" cy="1145506"/>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4" y="3986232"/>
            <a:ext cx="3630521" cy="1145506"/>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948155F3-13A9-445B-B851-F1E94B84FCC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191434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D11133-D70D-4F45-AD20-168B70D8497C}"/>
              </a:ext>
            </a:extLst>
          </p:cNvPr>
          <p:cNvSpPr/>
          <p:nvPr userDrawn="1"/>
        </p:nvSpPr>
        <p:spPr bwMode="auto">
          <a:xfrm>
            <a:off x="0" y="3015574"/>
            <a:ext cx="12192000" cy="3842426"/>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5" name="Text Placeholder 4">
            <a:extLst>
              <a:ext uri="{FF2B5EF4-FFF2-40B4-BE49-F238E27FC236}">
                <a16:creationId xmlns:a16="http://schemas.microsoft.com/office/drawing/2014/main" id="{CBC764A6-6338-42F6-B681-02FEFB6E8FA1}"/>
              </a:ext>
            </a:extLst>
          </p:cNvPr>
          <p:cNvSpPr>
            <a:spLocks noGrp="1"/>
          </p:cNvSpPr>
          <p:nvPr>
            <p:ph type="body" sz="quarter" idx="10"/>
          </p:nvPr>
        </p:nvSpPr>
        <p:spPr>
          <a:xfrm>
            <a:off x="584200" y="1011238"/>
            <a:ext cx="11018838" cy="307777"/>
          </a:xfrm>
        </p:spPr>
        <p:txBody>
          <a:bodyPr/>
          <a:lstStyle>
            <a:lvl1pPr algn="ctr">
              <a:defRPr lang="en-US" sz="2000" b="0" kern="1200" cap="none" spc="-50" baseline="0" dirty="0" smtClean="0">
                <a:ln w="3175">
                  <a:noFill/>
                </a:ln>
                <a:solidFill>
                  <a:schemeClr val="accent1"/>
                </a:solidFill>
                <a:effectLst/>
                <a:latin typeface="+mj-lt"/>
                <a:ea typeface="+mn-ea"/>
                <a:cs typeface="Segoe UI"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48A9FE0E-6B21-4B40-AABE-37CA61D8CFCC}"/>
              </a:ext>
            </a:extLst>
          </p:cNvPr>
          <p:cNvSpPr>
            <a:spLocks noGrp="1"/>
          </p:cNvSpPr>
          <p:nvPr>
            <p:ph type="body" sz="quarter" idx="11"/>
          </p:nvPr>
        </p:nvSpPr>
        <p:spPr>
          <a:xfrm>
            <a:off x="584200" y="3976594"/>
            <a:ext cx="2011680" cy="1959511"/>
          </a:xfrm>
        </p:spPr>
        <p:txBody>
          <a:bodyPr/>
          <a:lstStyle>
            <a:lvl1pPr algn="ctr">
              <a:defRPr sz="2400">
                <a:solidFill>
                  <a:schemeClr val="accent6"/>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35C112E-346A-4848-B308-C600F758C773}"/>
              </a:ext>
            </a:extLst>
          </p:cNvPr>
          <p:cNvSpPr>
            <a:spLocks noGrp="1"/>
          </p:cNvSpPr>
          <p:nvPr>
            <p:ph type="body" sz="quarter" idx="12"/>
          </p:nvPr>
        </p:nvSpPr>
        <p:spPr>
          <a:xfrm>
            <a:off x="2836926" y="3976594"/>
            <a:ext cx="2011680" cy="1835374"/>
          </a:xfrm>
        </p:spPr>
        <p:txBody>
          <a:bodyPr/>
          <a:lstStyle>
            <a:lvl1pPr algn="ctr">
              <a:defRPr sz="2400">
                <a:solidFill>
                  <a:schemeClr val="accent6"/>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187D159-18C3-4853-91CC-47344C4DD933}"/>
              </a:ext>
            </a:extLst>
          </p:cNvPr>
          <p:cNvSpPr>
            <a:spLocks noGrp="1"/>
          </p:cNvSpPr>
          <p:nvPr>
            <p:ph type="body" sz="quarter" idx="13"/>
          </p:nvPr>
        </p:nvSpPr>
        <p:spPr>
          <a:xfrm>
            <a:off x="5089652" y="3976594"/>
            <a:ext cx="2011680" cy="1835374"/>
          </a:xfrm>
        </p:spPr>
        <p:txBody>
          <a:bodyPr/>
          <a:lstStyle>
            <a:lvl1pPr algn="ctr">
              <a:defRPr sz="2400">
                <a:solidFill>
                  <a:schemeClr val="accent6"/>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53BD377E-8D21-4677-B58D-EC1643FCE2AC}"/>
              </a:ext>
            </a:extLst>
          </p:cNvPr>
          <p:cNvSpPr>
            <a:spLocks noGrp="1"/>
          </p:cNvSpPr>
          <p:nvPr>
            <p:ph type="body" sz="quarter" idx="14"/>
          </p:nvPr>
        </p:nvSpPr>
        <p:spPr>
          <a:xfrm>
            <a:off x="7342378" y="3976594"/>
            <a:ext cx="2011680" cy="1835374"/>
          </a:xfrm>
        </p:spPr>
        <p:txBody>
          <a:bodyPr/>
          <a:lstStyle>
            <a:lvl1pPr algn="ctr">
              <a:defRPr sz="2400">
                <a:solidFill>
                  <a:schemeClr val="accent6"/>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0DA9D728-3601-454F-93A5-9E7A0F7DCF18}"/>
              </a:ext>
            </a:extLst>
          </p:cNvPr>
          <p:cNvSpPr>
            <a:spLocks noGrp="1"/>
          </p:cNvSpPr>
          <p:nvPr>
            <p:ph type="body" sz="quarter" idx="15"/>
          </p:nvPr>
        </p:nvSpPr>
        <p:spPr>
          <a:xfrm>
            <a:off x="9595103" y="3976594"/>
            <a:ext cx="2011680" cy="1835374"/>
          </a:xfrm>
        </p:spPr>
        <p:txBody>
          <a:bodyPr/>
          <a:lstStyle>
            <a:lvl1pPr algn="ctr">
              <a:defRPr sz="2400">
                <a:solidFill>
                  <a:schemeClr val="accent6"/>
                </a:solidFill>
                <a:latin typeface="+mj-lt"/>
              </a:defRPr>
            </a:lvl1pPr>
            <a:lvl2pPr algn="ctr">
              <a:defRPr sz="1800">
                <a:solidFill>
                  <a:schemeClr val="bg1"/>
                </a:solidFill>
              </a:defRPr>
            </a:lvl2pPr>
            <a:lvl3pPr algn="ctr">
              <a:defRPr lang="en-US" sz="1800" kern="1200" spc="0" baseline="0" dirty="0">
                <a:solidFill>
                  <a:srgbClr val="50E6FF"/>
                </a:solidFill>
                <a:latin typeface="+mn-lt"/>
                <a:ea typeface="+mn-ea"/>
                <a:cs typeface="+mn-cs"/>
              </a:defRPr>
            </a:lvl3pPr>
            <a:lvl4pPr algn="ctr">
              <a:defRPr sz="1200">
                <a:solidFill>
                  <a:srgbClr val="50E6FF"/>
                </a:solidFill>
              </a:defRPr>
            </a:lvl4pPr>
            <a:lvl5pPr algn="ctr">
              <a:defRPr sz="1200">
                <a:solidFill>
                  <a:srgbClr val="50E6FF"/>
                </a:solidFill>
              </a:defRPr>
            </a:lvl5pPr>
          </a:lstStyle>
          <a:p>
            <a:pPr lvl="0"/>
            <a:r>
              <a:rPr lang="en-US"/>
              <a:t>Click to edit</a:t>
            </a:r>
          </a:p>
          <a:p>
            <a:pPr lvl="1"/>
            <a:r>
              <a:rPr lang="en-US"/>
              <a:t>Second level</a:t>
            </a:r>
          </a:p>
          <a:p>
            <a:pPr marL="0" marR="0" lvl="2"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45A6DA6C-A130-43CD-AA57-0A6721ACF5E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61098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215823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530385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939816"/>
            <a:ext cx="11339774" cy="271613"/>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
        <p:nvSpPr>
          <p:cNvPr id="8" name="TextBox 7">
            <a:extLst>
              <a:ext uri="{FF2B5EF4-FFF2-40B4-BE49-F238E27FC236}">
                <a16:creationId xmlns:a16="http://schemas.microsoft.com/office/drawing/2014/main" id="{23054922-7BB2-4879-9591-0FC5641284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rgbClr val="FFFFFF">
                    <a:lumMod val="65000"/>
                  </a:srgbClr>
                </a:solidFill>
              </a:rPr>
              <a:t>© Microsoft Corporation</a:t>
            </a:r>
            <a:endParaRPr lang="en-US" sz="784">
              <a:solidFill>
                <a:srgbClr val="FFFFFF">
                  <a:lumMod val="65000"/>
                </a:srgbClr>
              </a:solidFill>
            </a:endParaRPr>
          </a:p>
        </p:txBody>
      </p:sp>
    </p:spTree>
    <p:extLst>
      <p:ext uri="{BB962C8B-B14F-4D97-AF65-F5344CB8AC3E}">
        <p14:creationId xmlns:p14="http://schemas.microsoft.com/office/powerpoint/2010/main" val="18950450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
        <p:nvSpPr>
          <p:cNvPr id="8" name="TextBox 7">
            <a:extLst>
              <a:ext uri="{FF2B5EF4-FFF2-40B4-BE49-F238E27FC236}">
                <a16:creationId xmlns:a16="http://schemas.microsoft.com/office/drawing/2014/main" id="{23054922-7BB2-4879-9591-0FC5641284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rgbClr val="FFFFFF">
                    <a:lumMod val="65000"/>
                  </a:srgbClr>
                </a:solidFill>
              </a:rPr>
              <a:t>© Microsoft Corporation</a:t>
            </a:r>
            <a:endParaRPr lang="en-US" sz="784">
              <a:solidFill>
                <a:srgbClr val="FFFFFF">
                  <a:lumMod val="65000"/>
                </a:srgbClr>
              </a:solidFill>
            </a:endParaRPr>
          </a:p>
        </p:txBody>
      </p:sp>
    </p:spTree>
    <p:extLst>
      <p:ext uri="{BB962C8B-B14F-4D97-AF65-F5344CB8AC3E}">
        <p14:creationId xmlns:p14="http://schemas.microsoft.com/office/powerpoint/2010/main" val="66384337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0F2F5-3765-493D-B3AE-18E37F967F5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55FF95E8-9533-49BC-B701-E6EBF5B64B5A}"/>
              </a:ext>
            </a:extLst>
          </p:cNvPr>
          <p:cNvSpPr/>
          <p:nvPr userDrawn="1"/>
        </p:nvSpPr>
        <p:spPr bwMode="auto">
          <a:xfrm>
            <a:off x="0"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72AEB49B-91DB-49CD-9812-DE40D464738E}"/>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lvl="0" algn="ctr" defTabSz="913576"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48974" y="2540313"/>
            <a:ext cx="7028471" cy="1793104"/>
          </a:xfrm>
          <a:noFill/>
        </p:spPr>
        <p:txBody>
          <a:bodyPr lIns="0" tIns="0" rIns="0" bIns="182880" anchor="b" anchorCtr="0"/>
          <a:lstStyle>
            <a:lvl1pPr algn="l">
              <a:defRPr sz="5291" strike="noStrike" spc="-147" baseline="0">
                <a:solidFill>
                  <a:schemeClr val="bg2"/>
                </a:solidFill>
                <a:latin typeface="+mj-lt"/>
              </a:defRPr>
            </a:lvl1pPr>
          </a:lstStyle>
          <a:p>
            <a:r>
              <a:rPr lang="en-US"/>
              <a:t>Azure presentation</a:t>
            </a:r>
            <a:br>
              <a:rPr lang="en-US"/>
            </a:br>
            <a:r>
              <a:rPr lang="en-US"/>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48978" y="4342827"/>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BB94A8BD-C373-4DF1-B831-20BEEA1C57B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36043601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99665"/>
          </a:xfrm>
        </p:spPr>
        <p:txBody>
          <a:bodyPr/>
          <a:lstStyle>
            <a:lvl1pPr marL="0" algn="l" defTabSz="896046" rtl="0" eaLnBrk="1" latinLnBrk="0" hangingPunct="1">
              <a:spcBef>
                <a:spcPct val="0"/>
              </a:spcBef>
              <a:buNone/>
              <a:defRPr lang="en-US" sz="3920" b="0" i="0" u="none" kern="1200" spc="-147" baseline="0" dirty="0">
                <a:solidFill>
                  <a:schemeClr val="accent5">
                    <a:lumMod val="50000"/>
                  </a:schemeClr>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60185072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93470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3136855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315537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91552" y="0"/>
            <a:ext cx="8100447"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0725280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7" y="-1"/>
            <a:ext cx="4117383"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5752274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48047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05553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06819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17395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E6D01-3E0F-4BD4-80CB-FAB8F44B0A0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C01F7B8B-303A-4D8B-98B1-89FED98B9B16}"/>
              </a:ext>
            </a:extLst>
          </p:cNvPr>
          <p:cNvSpPr/>
          <p:nvPr userDrawn="1"/>
        </p:nvSpPr>
        <p:spPr bwMode="auto">
          <a:xfrm rot="5400000">
            <a:off x="5610369" y="-5610363"/>
            <a:ext cx="971267" cy="12192001"/>
          </a:xfrm>
          <a:prstGeom prst="rect">
            <a:avLst/>
          </a:prstGeom>
          <a:gradFill flip="none" rotWithShape="1">
            <a:gsLst>
              <a:gs pos="0">
                <a:schemeClr val="accent1">
                  <a:lumMod val="5000"/>
                  <a:lumOff val="95000"/>
                  <a:alpha val="75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lvl="0" algn="ctr" defTabSz="913576"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lgn="l">
              <a:defRPr sz="5291"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8" y="4342827"/>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784461FB-856C-44B7-AF3E-D21A18D132C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5835378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531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258454" y="3659623"/>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3141299" y="3659623"/>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6024144" y="3659623"/>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11" name="Text Placeholder 4">
            <a:extLst>
              <a:ext uri="{FF2B5EF4-FFF2-40B4-BE49-F238E27FC236}">
                <a16:creationId xmlns:a16="http://schemas.microsoft.com/office/drawing/2014/main" id="{424D8784-5ED4-473A-BDCF-4677B366ED22}"/>
              </a:ext>
            </a:extLst>
          </p:cNvPr>
          <p:cNvSpPr>
            <a:spLocks noGrp="1"/>
          </p:cNvSpPr>
          <p:nvPr>
            <p:ph type="body" sz="quarter" idx="17"/>
          </p:nvPr>
        </p:nvSpPr>
        <p:spPr>
          <a:xfrm>
            <a:off x="8906990" y="3659623"/>
            <a:ext cx="2834640" cy="307777"/>
          </a:xfrm>
        </p:spPr>
        <p:txBody>
          <a:bodyPr anchor="t"/>
          <a:lstStyle>
            <a:lvl1pPr marL="0" indent="0" algn="ctr">
              <a:buNone/>
              <a:defRPr sz="2000" b="0">
                <a:solidFill>
                  <a:schemeClr val="tx1"/>
                </a:solidFill>
                <a:latin typeface="+mj-lt"/>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a:t>
            </a:r>
          </a:p>
        </p:txBody>
      </p:sp>
      <p:sp>
        <p:nvSpPr>
          <p:cNvPr id="3" name="Title 2">
            <a:extLst>
              <a:ext uri="{FF2B5EF4-FFF2-40B4-BE49-F238E27FC236}">
                <a16:creationId xmlns:a16="http://schemas.microsoft.com/office/drawing/2014/main" id="{A093268A-A323-4FA2-AD78-8272E5C99800}"/>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820938729"/>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guide id="32" orient="horz" pos="1968">
          <p15:clr>
            <a:srgbClr val="5ACBF0"/>
          </p15:clr>
        </p15:guide>
        <p15:guide id="33" orient="horz" pos="2160">
          <p15:clr>
            <a:srgbClr val="5ACBF0"/>
          </p15:clr>
        </p15:guide>
        <p15:guide id="34" orient="horz" pos="244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C5B190A5-EEC2-4DB4-BB1A-F932E227E955}"/>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81672820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Title &amp; body with bullets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4" name="Title 3">
            <a:extLst>
              <a:ext uri="{FF2B5EF4-FFF2-40B4-BE49-F238E27FC236}">
                <a16:creationId xmlns:a16="http://schemas.microsoft.com/office/drawing/2014/main" id="{E6B7040F-1E2C-4F82-ABB7-F07F089ED8BE}"/>
              </a:ext>
            </a:extLst>
          </p:cNvPr>
          <p:cNvSpPr>
            <a:spLocks noGrp="1"/>
          </p:cNvSpPr>
          <p:nvPr>
            <p:ph type="title"/>
          </p:nvPr>
        </p:nvSpPr>
        <p:spPr>
          <a:xfrm>
            <a:off x="426425" y="1632912"/>
            <a:ext cx="4849473" cy="744014"/>
          </a:xfrm>
        </p:spPr>
        <p:txBody>
          <a:bodyPr anchor="b"/>
          <a:lstStyle>
            <a:lvl1pPr algn="l">
              <a:defRPr/>
            </a:lvl1pPr>
          </a:lstStyle>
          <a:p>
            <a:r>
              <a:rPr lang="en-US"/>
              <a:t>Click to edit Master title style</a:t>
            </a:r>
          </a:p>
        </p:txBody>
      </p:sp>
      <p:sp>
        <p:nvSpPr>
          <p:cNvPr id="5" name="Text Placeholder 4">
            <a:extLst>
              <a:ext uri="{FF2B5EF4-FFF2-40B4-BE49-F238E27FC236}">
                <a16:creationId xmlns:a16="http://schemas.microsoft.com/office/drawing/2014/main" id="{F411E651-2C76-4DFB-BA46-04AC1CE3E4AD}"/>
              </a:ext>
            </a:extLst>
          </p:cNvPr>
          <p:cNvSpPr>
            <a:spLocks noGrp="1"/>
          </p:cNvSpPr>
          <p:nvPr>
            <p:ph type="body" sz="quarter" idx="12"/>
          </p:nvPr>
        </p:nvSpPr>
        <p:spPr>
          <a:xfrm>
            <a:off x="427038" y="2520564"/>
            <a:ext cx="4848969" cy="276999"/>
          </a:xfrm>
        </p:spPr>
        <p:txBody>
          <a:bodyPr/>
          <a:lstStyle>
            <a:lvl1pPr marL="0" indent="0">
              <a:buNone/>
              <a:defRPr sz="1800"/>
            </a:lvl1pPr>
          </a:lstStyle>
          <a:p>
            <a:pPr lvl="0"/>
            <a:r>
              <a:rPr lang="en-US"/>
              <a:t>Click to edit Master text styles</a:t>
            </a:r>
          </a:p>
        </p:txBody>
      </p:sp>
      <p:sp>
        <p:nvSpPr>
          <p:cNvPr id="2" name="Rectangle 1">
            <a:extLst>
              <a:ext uri="{FF2B5EF4-FFF2-40B4-BE49-F238E27FC236}">
                <a16:creationId xmlns:a16="http://schemas.microsoft.com/office/drawing/2014/main" id="{5731DF0C-E1D2-4C63-820D-7F99D19CEE0E}"/>
              </a:ext>
            </a:extLst>
          </p:cNvPr>
          <p:cNvSpPr/>
          <p:nvPr userDrawn="1"/>
        </p:nvSpPr>
        <p:spPr bwMode="auto">
          <a:xfrm>
            <a:off x="5645426" y="0"/>
            <a:ext cx="6546574"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3066795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582642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2866DF2A-010E-4418-A67F-8FA150075153}"/>
              </a:ext>
            </a:extLst>
          </p:cNvPr>
          <p:cNvSpPr>
            <a:spLocks noGrp="1"/>
          </p:cNvSpPr>
          <p:nvPr>
            <p:ph type="body" sz="quarter" idx="10"/>
          </p:nvPr>
        </p:nvSpPr>
        <p:spPr>
          <a:xfrm>
            <a:off x="584200" y="1080244"/>
            <a:ext cx="11018838" cy="246221"/>
          </a:xfrm>
        </p:spPr>
        <p:txBody>
          <a:bodyPr/>
          <a:lstStyle>
            <a:lvl1pPr marL="0" indent="0">
              <a:buNone/>
              <a:defRPr lang="en-US" sz="1600" b="0" kern="1200" spc="0" baseline="0" dirty="0" smtClean="0">
                <a:solidFill>
                  <a:schemeClr val="tx1"/>
                </a:solidFill>
                <a:latin typeface="+mj-lt"/>
                <a:ea typeface="+mn-ea"/>
                <a:cs typeface="Segoe UI" panose="020B0502040204020203" pitchFamily="34" charset="0"/>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11034665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472071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63957831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2975471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283289486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lgn="l">
              <a:defRPr sz="5293"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0" name="Picture 9">
            <a:extLst>
              <a:ext uri="{FF2B5EF4-FFF2-40B4-BE49-F238E27FC236}">
                <a16:creationId xmlns:a16="http://schemas.microsoft.com/office/drawing/2014/main" id="{69752010-03A3-4EA2-99F5-BD7256D6539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7848953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5475736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6327160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500214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3935518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6909717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486325335"/>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305948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8705029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4064770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35712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lgn="l">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10" name="Picture 9">
            <a:extLst>
              <a:ext uri="{FF2B5EF4-FFF2-40B4-BE49-F238E27FC236}">
                <a16:creationId xmlns:a16="http://schemas.microsoft.com/office/drawing/2014/main" id="{CB22DF54-0BC3-4D9B-8F6B-B26F3078531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36514636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17017" y="-10886"/>
            <a:ext cx="7787832" cy="6881400"/>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1348116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7" y="-1"/>
            <a:ext cx="4117383" cy="6858001"/>
          </a:xfrm>
          <a:prstGeom prst="rect">
            <a:avLst/>
          </a:prstGeom>
        </p:spPr>
      </p:pic>
    </p:spTree>
    <p:extLst>
      <p:ext uri="{BB962C8B-B14F-4D97-AF65-F5344CB8AC3E}">
        <p14:creationId xmlns:p14="http://schemas.microsoft.com/office/powerpoint/2010/main" val="11062134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85960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48315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213374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9193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150921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553998"/>
          </a:xfrm>
        </p:spPr>
        <p:txBody>
          <a:bodyPr/>
          <a:lstStyle>
            <a:lvl1pPr>
              <a:defRPr>
                <a:solidFill>
                  <a:srgbClr val="000000"/>
                </a:solidFill>
              </a:defRPr>
            </a:lvl1pPr>
          </a:lstStyle>
          <a:p>
            <a:r>
              <a:rPr lang="en-US"/>
              <a:t>Click to edit Master title style</a:t>
            </a:r>
          </a:p>
        </p:txBody>
      </p:sp>
      <p:sp>
        <p:nvSpPr>
          <p:cNvPr id="4" name="Text Placeholder 3">
            <a:extLst>
              <a:ext uri="{FF2B5EF4-FFF2-40B4-BE49-F238E27FC236}">
                <a16:creationId xmlns:a16="http://schemas.microsoft.com/office/drawing/2014/main" id="{46B22329-156A-4C68-9BE6-1F25C6C8A72A}"/>
              </a:ext>
            </a:extLst>
          </p:cNvPr>
          <p:cNvSpPr>
            <a:spLocks noGrp="1"/>
          </p:cNvSpPr>
          <p:nvPr>
            <p:ph type="body" sz="quarter" idx="10" hasCustomPrompt="1"/>
          </p:nvPr>
        </p:nvSpPr>
        <p:spPr>
          <a:xfrm>
            <a:off x="598477" y="1741488"/>
            <a:ext cx="1828800" cy="1428083"/>
          </a:xfrm>
        </p:spPr>
        <p:txBody>
          <a:bodyPr/>
          <a:lstStyle>
            <a:lvl1pPr marL="0" indent="0">
              <a:buNone/>
              <a:defRPr kumimoji="0" lang="en-US" sz="1600" b="1" i="0" u="none" strike="noStrike" kern="1200" cap="all" spc="0" normalizeH="0" baseline="0" dirty="0" smtClean="0">
                <a:ln>
                  <a:noFill/>
                </a:ln>
                <a:solidFill>
                  <a:srgbClr val="0078D4"/>
                </a:solidFill>
                <a:effectLst/>
                <a:uLnTx/>
                <a:uFillTx/>
                <a:latin typeface="Segoe UI" panose="020B0502040204020203" pitchFamily="34" charset="0"/>
                <a:ea typeface="+mn-ea"/>
                <a:cs typeface="Segoe UI" panose="020B0502040204020203" pitchFamily="34" charset="0"/>
              </a:defRPr>
            </a:lvl1pPr>
            <a:lvl2pPr marL="0" indent="0">
              <a:spcBef>
                <a:spcPts val="0"/>
              </a:spcBef>
              <a:spcAft>
                <a:spcPts val="1200"/>
              </a:spcAft>
              <a:buNone/>
              <a:defRPr kumimoji="0" lang="en-US" sz="1600" b="0" i="0" u="none" strike="noStrike" kern="1200" cap="none" spc="0" normalizeH="0" baseline="0" dirty="0" smtClean="0">
                <a:ln>
                  <a:noFill/>
                </a:ln>
                <a:solidFill>
                  <a:srgbClr val="0078D4"/>
                </a:solidFill>
                <a:effectLst/>
                <a:uLnTx/>
                <a:uFillTx/>
                <a:latin typeface="Segoe UI Semibold"/>
                <a:ea typeface="+mn-ea"/>
                <a:cs typeface="+mn-cs"/>
              </a:defRPr>
            </a:lvl2pPr>
            <a:lvl3pPr marL="0" indent="0">
              <a:spcAft>
                <a:spcPts val="600"/>
              </a:spcAft>
              <a:buNone/>
              <a:defRPr kumimoji="0" lang="en-US" sz="1200" b="0" i="0" u="none" strike="noStrike" kern="1200" cap="none" spc="0" normalizeH="0" baseline="0" dirty="0" smtClean="0">
                <a:ln>
                  <a:noFill/>
                </a:ln>
                <a:solidFill>
                  <a:srgbClr val="000000"/>
                </a:solidFill>
                <a:effectLst/>
                <a:uLnTx/>
                <a:uFillTx/>
                <a:latin typeface="Segoe UI"/>
                <a:ea typeface="+mn-ea"/>
                <a:cs typeface="+mn-cs"/>
              </a:defRPr>
            </a:lvl3pPr>
            <a:lvl4pPr marL="0" indent="0">
              <a:spcAft>
                <a:spcPts val="600"/>
              </a:spcAft>
              <a:buNone/>
              <a:defRPr sz="1100"/>
            </a:lvl4pPr>
            <a:lvl5pPr marL="0" indent="0">
              <a:spcAft>
                <a:spcPts val="600"/>
              </a:spcAft>
              <a:buNone/>
              <a:defRPr sz="1100" b="1"/>
            </a:lvl5pPr>
          </a:lstStyle>
          <a:p>
            <a:pPr lvl="0"/>
            <a:r>
              <a:rPr lang="en-US"/>
              <a:t>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4DE6FDA7-6359-42AB-AACF-D7A3D7D28A33}"/>
              </a:ext>
            </a:extLst>
          </p:cNvPr>
          <p:cNvSpPr>
            <a:spLocks noGrp="1"/>
          </p:cNvSpPr>
          <p:nvPr>
            <p:ph type="body" sz="quarter" idx="15"/>
          </p:nvPr>
        </p:nvSpPr>
        <p:spPr>
          <a:xfrm>
            <a:off x="588963" y="1011238"/>
            <a:ext cx="11020425" cy="307777"/>
          </a:xfrm>
        </p:spPr>
        <p:txBody>
          <a:bodyPr/>
          <a:lstStyle>
            <a:lvl1pPr marL="0" indent="0">
              <a:buNone/>
              <a:defRPr sz="2000">
                <a:solidFill>
                  <a:schemeClr val="tx2"/>
                </a:solidFill>
              </a:defRPr>
            </a:lvl1pPr>
            <a:lvl2pPr marL="0" indent="0">
              <a:buNone/>
              <a:defRPr sz="1600">
                <a:solidFill>
                  <a:schemeClr val="tx2"/>
                </a:solidFill>
              </a:defRPr>
            </a:lvl2pPr>
            <a:lvl3pPr marL="0" indent="0">
              <a:buNone/>
              <a:defRPr sz="1200">
                <a:solidFill>
                  <a:schemeClr val="tx2"/>
                </a:solidFill>
              </a:defRPr>
            </a:lvl3pPr>
            <a:lvl4pPr marL="0" indent="0">
              <a:buNone/>
              <a:defRPr sz="1100">
                <a:solidFill>
                  <a:schemeClr val="tx2"/>
                </a:solidFill>
              </a:defRPr>
            </a:lvl4pPr>
            <a:lvl5pPr marL="0" indent="0">
              <a:buNone/>
              <a:defRPr sz="1100">
                <a:solidFill>
                  <a:schemeClr val="tx2"/>
                </a:solidFill>
              </a:defRPr>
            </a:lvl5pPr>
          </a:lstStyle>
          <a:p>
            <a:pPr lvl="0"/>
            <a:r>
              <a:rPr lang="en-US"/>
              <a:t>Click to edit Master text styles</a:t>
            </a:r>
          </a:p>
        </p:txBody>
      </p:sp>
      <p:sp>
        <p:nvSpPr>
          <p:cNvPr id="14" name="Text Placeholder 12">
            <a:extLst>
              <a:ext uri="{FF2B5EF4-FFF2-40B4-BE49-F238E27FC236}">
                <a16:creationId xmlns:a16="http://schemas.microsoft.com/office/drawing/2014/main" id="{7308AB1B-0249-467A-8D9D-1BF735767950}"/>
              </a:ext>
            </a:extLst>
          </p:cNvPr>
          <p:cNvSpPr>
            <a:spLocks noGrp="1"/>
          </p:cNvSpPr>
          <p:nvPr>
            <p:ph type="body" sz="quarter" idx="16"/>
          </p:nvPr>
        </p:nvSpPr>
        <p:spPr>
          <a:xfrm>
            <a:off x="588963" y="138211"/>
            <a:ext cx="11020425" cy="276999"/>
          </a:xfrm>
        </p:spPr>
        <p:txBody>
          <a:bodyPr/>
          <a:lstStyle>
            <a:lvl1pPr marL="0" indent="0">
              <a:buNone/>
              <a:defRPr sz="1800">
                <a:solidFill>
                  <a:schemeClr val="accent1"/>
                </a:solidFill>
              </a:defRPr>
            </a:lvl1pPr>
            <a:lvl2pPr marL="0" indent="0">
              <a:buNone/>
              <a:defRPr sz="1600">
                <a:solidFill>
                  <a:schemeClr val="tx2"/>
                </a:solidFill>
              </a:defRPr>
            </a:lvl2pPr>
            <a:lvl3pPr marL="0" indent="0">
              <a:buNone/>
              <a:defRPr sz="1200">
                <a:solidFill>
                  <a:schemeClr val="tx2"/>
                </a:solidFill>
              </a:defRPr>
            </a:lvl3pPr>
            <a:lvl4pPr marL="0" indent="0">
              <a:buNone/>
              <a:defRPr sz="1100">
                <a:solidFill>
                  <a:schemeClr val="tx2"/>
                </a:solidFill>
              </a:defRPr>
            </a:lvl4pPr>
            <a:lvl5pPr marL="0" indent="0">
              <a:buNone/>
              <a:defRPr sz="1100">
                <a:solidFill>
                  <a:schemeClr val="tx2"/>
                </a:solidFill>
              </a:defRPr>
            </a:lvl5pPr>
          </a:lstStyle>
          <a:p>
            <a:pPr lvl="0"/>
            <a:r>
              <a:rPr lang="en-US"/>
              <a:t>Click to edit Master text styles</a:t>
            </a:r>
          </a:p>
        </p:txBody>
      </p:sp>
      <p:sp>
        <p:nvSpPr>
          <p:cNvPr id="15" name="Text Placeholder 3">
            <a:extLst>
              <a:ext uri="{FF2B5EF4-FFF2-40B4-BE49-F238E27FC236}">
                <a16:creationId xmlns:a16="http://schemas.microsoft.com/office/drawing/2014/main" id="{1763B3BD-C068-4045-A5DE-A600CC7A9578}"/>
              </a:ext>
            </a:extLst>
          </p:cNvPr>
          <p:cNvSpPr>
            <a:spLocks noGrp="1"/>
          </p:cNvSpPr>
          <p:nvPr>
            <p:ph type="body" sz="quarter" idx="17" hasCustomPrompt="1"/>
          </p:nvPr>
        </p:nvSpPr>
        <p:spPr>
          <a:xfrm>
            <a:off x="2890039" y="1741488"/>
            <a:ext cx="1828800" cy="1428083"/>
          </a:xfrm>
        </p:spPr>
        <p:txBody>
          <a:bodyPr/>
          <a:lstStyle>
            <a:lvl1pPr marL="0" indent="0">
              <a:buNone/>
              <a:defRPr kumimoji="0" lang="en-US" sz="1600" b="1" i="0" u="none" strike="noStrike" kern="1200" cap="all" spc="0" normalizeH="0" baseline="0" dirty="0" smtClean="0">
                <a:ln>
                  <a:noFill/>
                </a:ln>
                <a:solidFill>
                  <a:srgbClr val="0078D4"/>
                </a:solidFill>
                <a:effectLst/>
                <a:uLnTx/>
                <a:uFillTx/>
                <a:latin typeface="Segoe UI" panose="020B0502040204020203" pitchFamily="34" charset="0"/>
                <a:ea typeface="+mn-ea"/>
                <a:cs typeface="Segoe UI" panose="020B0502040204020203" pitchFamily="34" charset="0"/>
              </a:defRPr>
            </a:lvl1pPr>
            <a:lvl2pPr marL="0" indent="0">
              <a:spcBef>
                <a:spcPts val="0"/>
              </a:spcBef>
              <a:spcAft>
                <a:spcPts val="1200"/>
              </a:spcAft>
              <a:buNone/>
              <a:defRPr kumimoji="0" lang="en-US" sz="1600" b="0" i="0" u="none" strike="noStrike" kern="1200" cap="none" spc="0" normalizeH="0" baseline="0" dirty="0" smtClean="0">
                <a:ln>
                  <a:noFill/>
                </a:ln>
                <a:solidFill>
                  <a:srgbClr val="0078D4"/>
                </a:solidFill>
                <a:effectLst/>
                <a:uLnTx/>
                <a:uFillTx/>
                <a:latin typeface="Segoe UI Semibold"/>
                <a:ea typeface="+mn-ea"/>
                <a:cs typeface="+mn-cs"/>
              </a:defRPr>
            </a:lvl2pPr>
            <a:lvl3pPr marL="0" indent="0">
              <a:spcAft>
                <a:spcPts val="600"/>
              </a:spcAft>
              <a:buNone/>
              <a:defRPr kumimoji="0" lang="en-US" sz="1200" b="0" i="0" u="none" strike="noStrike" kern="1200" cap="none" spc="0" normalizeH="0" baseline="0" dirty="0" smtClean="0">
                <a:ln>
                  <a:noFill/>
                </a:ln>
                <a:solidFill>
                  <a:srgbClr val="000000"/>
                </a:solidFill>
                <a:effectLst/>
                <a:uLnTx/>
                <a:uFillTx/>
                <a:latin typeface="Segoe UI"/>
                <a:ea typeface="+mn-ea"/>
                <a:cs typeface="+mn-cs"/>
              </a:defRPr>
            </a:lvl3pPr>
            <a:lvl4pPr marL="0" indent="0">
              <a:spcAft>
                <a:spcPts val="600"/>
              </a:spcAft>
              <a:buNone/>
              <a:defRPr sz="1100"/>
            </a:lvl4pPr>
            <a:lvl5pPr marL="0" indent="0">
              <a:spcAft>
                <a:spcPts val="600"/>
              </a:spcAft>
              <a:buNone/>
              <a:defRPr sz="1100" b="1"/>
            </a:lvl5pPr>
          </a:lstStyle>
          <a:p>
            <a:pPr lvl="0"/>
            <a:r>
              <a:rPr lang="en-US"/>
              <a:t>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3">
            <a:extLst>
              <a:ext uri="{FF2B5EF4-FFF2-40B4-BE49-F238E27FC236}">
                <a16:creationId xmlns:a16="http://schemas.microsoft.com/office/drawing/2014/main" id="{29516B84-2DB5-4E5A-88D5-7BB41E457036}"/>
              </a:ext>
            </a:extLst>
          </p:cNvPr>
          <p:cNvSpPr>
            <a:spLocks noGrp="1"/>
          </p:cNvSpPr>
          <p:nvPr>
            <p:ph type="body" sz="quarter" idx="18" hasCustomPrompt="1"/>
          </p:nvPr>
        </p:nvSpPr>
        <p:spPr>
          <a:xfrm>
            <a:off x="5181601" y="1741488"/>
            <a:ext cx="1828800" cy="1428083"/>
          </a:xfrm>
        </p:spPr>
        <p:txBody>
          <a:bodyPr/>
          <a:lstStyle>
            <a:lvl1pPr marL="0" indent="0">
              <a:buNone/>
              <a:defRPr kumimoji="0" lang="en-US" sz="1600" b="1" i="0" u="none" strike="noStrike" kern="1200" cap="all" spc="0" normalizeH="0" baseline="0" dirty="0" smtClean="0">
                <a:ln>
                  <a:noFill/>
                </a:ln>
                <a:solidFill>
                  <a:srgbClr val="0078D4"/>
                </a:solidFill>
                <a:effectLst/>
                <a:uLnTx/>
                <a:uFillTx/>
                <a:latin typeface="Segoe UI" panose="020B0502040204020203" pitchFamily="34" charset="0"/>
                <a:ea typeface="+mn-ea"/>
                <a:cs typeface="Segoe UI" panose="020B0502040204020203" pitchFamily="34" charset="0"/>
              </a:defRPr>
            </a:lvl1pPr>
            <a:lvl2pPr marL="0" indent="0">
              <a:spcBef>
                <a:spcPts val="0"/>
              </a:spcBef>
              <a:spcAft>
                <a:spcPts val="1200"/>
              </a:spcAft>
              <a:buNone/>
              <a:defRPr kumimoji="0" lang="en-US" sz="1600" b="0" i="0" u="none" strike="noStrike" kern="1200" cap="none" spc="0" normalizeH="0" baseline="0" dirty="0" smtClean="0">
                <a:ln>
                  <a:noFill/>
                </a:ln>
                <a:solidFill>
                  <a:srgbClr val="0078D4"/>
                </a:solidFill>
                <a:effectLst/>
                <a:uLnTx/>
                <a:uFillTx/>
                <a:latin typeface="Segoe UI Semibold"/>
                <a:ea typeface="+mn-ea"/>
                <a:cs typeface="+mn-cs"/>
              </a:defRPr>
            </a:lvl2pPr>
            <a:lvl3pPr marL="0" indent="0">
              <a:spcAft>
                <a:spcPts val="600"/>
              </a:spcAft>
              <a:buNone/>
              <a:defRPr kumimoji="0" lang="en-US" sz="1200" b="0" i="0" u="none" strike="noStrike" kern="1200" cap="none" spc="0" normalizeH="0" baseline="0" dirty="0" smtClean="0">
                <a:ln>
                  <a:noFill/>
                </a:ln>
                <a:solidFill>
                  <a:srgbClr val="000000"/>
                </a:solidFill>
                <a:effectLst/>
                <a:uLnTx/>
                <a:uFillTx/>
                <a:latin typeface="Segoe UI"/>
                <a:ea typeface="+mn-ea"/>
                <a:cs typeface="+mn-cs"/>
              </a:defRPr>
            </a:lvl3pPr>
            <a:lvl4pPr marL="0" indent="0">
              <a:spcAft>
                <a:spcPts val="600"/>
              </a:spcAft>
              <a:buNone/>
              <a:defRPr sz="1100"/>
            </a:lvl4pPr>
            <a:lvl5pPr marL="0" indent="0">
              <a:spcAft>
                <a:spcPts val="600"/>
              </a:spcAft>
              <a:buNone/>
              <a:defRPr sz="1100" b="1"/>
            </a:lvl5pPr>
          </a:lstStyle>
          <a:p>
            <a:pPr lvl="0"/>
            <a:r>
              <a:rPr lang="en-US"/>
              <a:t>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313EE4CF-E8C5-45BD-9E69-E95AEC1AE2E4}"/>
              </a:ext>
            </a:extLst>
          </p:cNvPr>
          <p:cNvSpPr>
            <a:spLocks noGrp="1"/>
          </p:cNvSpPr>
          <p:nvPr>
            <p:ph type="body" sz="quarter" idx="19" hasCustomPrompt="1"/>
          </p:nvPr>
        </p:nvSpPr>
        <p:spPr>
          <a:xfrm>
            <a:off x="7473163" y="1741488"/>
            <a:ext cx="1828800" cy="1428083"/>
          </a:xfrm>
        </p:spPr>
        <p:txBody>
          <a:bodyPr/>
          <a:lstStyle>
            <a:lvl1pPr marL="0" indent="0">
              <a:buNone/>
              <a:defRPr kumimoji="0" lang="en-US" sz="1600" b="1" i="0" u="none" strike="noStrike" kern="1200" cap="all" spc="0" normalizeH="0" baseline="0" dirty="0" smtClean="0">
                <a:ln>
                  <a:noFill/>
                </a:ln>
                <a:solidFill>
                  <a:srgbClr val="0078D4"/>
                </a:solidFill>
                <a:effectLst/>
                <a:uLnTx/>
                <a:uFillTx/>
                <a:latin typeface="Segoe UI" panose="020B0502040204020203" pitchFamily="34" charset="0"/>
                <a:ea typeface="+mn-ea"/>
                <a:cs typeface="Segoe UI" panose="020B0502040204020203" pitchFamily="34" charset="0"/>
              </a:defRPr>
            </a:lvl1pPr>
            <a:lvl2pPr marL="0" indent="0">
              <a:spcBef>
                <a:spcPts val="0"/>
              </a:spcBef>
              <a:spcAft>
                <a:spcPts val="1200"/>
              </a:spcAft>
              <a:buNone/>
              <a:defRPr kumimoji="0" lang="en-US" sz="1600" b="0" i="0" u="none" strike="noStrike" kern="1200" cap="none" spc="0" normalizeH="0" baseline="0" dirty="0" smtClean="0">
                <a:ln>
                  <a:noFill/>
                </a:ln>
                <a:solidFill>
                  <a:srgbClr val="0078D4"/>
                </a:solidFill>
                <a:effectLst/>
                <a:uLnTx/>
                <a:uFillTx/>
                <a:latin typeface="Segoe UI Semibold"/>
                <a:ea typeface="+mn-ea"/>
                <a:cs typeface="+mn-cs"/>
              </a:defRPr>
            </a:lvl2pPr>
            <a:lvl3pPr marL="0" indent="0">
              <a:spcAft>
                <a:spcPts val="600"/>
              </a:spcAft>
              <a:buNone/>
              <a:defRPr kumimoji="0" lang="en-US" sz="1200" b="0" i="0" u="none" strike="noStrike" kern="1200" cap="none" spc="0" normalizeH="0" baseline="0" dirty="0" smtClean="0">
                <a:ln>
                  <a:noFill/>
                </a:ln>
                <a:solidFill>
                  <a:srgbClr val="000000"/>
                </a:solidFill>
                <a:effectLst/>
                <a:uLnTx/>
                <a:uFillTx/>
                <a:latin typeface="Segoe UI"/>
                <a:ea typeface="+mn-ea"/>
                <a:cs typeface="+mn-cs"/>
              </a:defRPr>
            </a:lvl3pPr>
            <a:lvl4pPr marL="0" indent="0">
              <a:spcAft>
                <a:spcPts val="600"/>
              </a:spcAft>
              <a:buNone/>
              <a:defRPr sz="1100"/>
            </a:lvl4pPr>
            <a:lvl5pPr marL="0" indent="0">
              <a:spcAft>
                <a:spcPts val="600"/>
              </a:spcAft>
              <a:buNone/>
              <a:defRPr sz="1100" b="1"/>
            </a:lvl5pPr>
          </a:lstStyle>
          <a:p>
            <a:pPr lvl="0"/>
            <a:r>
              <a:rPr lang="en-US"/>
              <a:t>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2EA04C54-66F0-4730-AF22-EAC737BAB438}"/>
              </a:ext>
            </a:extLst>
          </p:cNvPr>
          <p:cNvSpPr>
            <a:spLocks noGrp="1"/>
          </p:cNvSpPr>
          <p:nvPr>
            <p:ph type="body" sz="quarter" idx="20" hasCustomPrompt="1"/>
          </p:nvPr>
        </p:nvSpPr>
        <p:spPr>
          <a:xfrm>
            <a:off x="9764723" y="1741488"/>
            <a:ext cx="1828800" cy="1428083"/>
          </a:xfrm>
        </p:spPr>
        <p:txBody>
          <a:bodyPr/>
          <a:lstStyle>
            <a:lvl1pPr marL="0" indent="0">
              <a:buNone/>
              <a:defRPr kumimoji="0" lang="en-US" sz="1600" b="1" i="0" u="none" strike="noStrike" kern="1200" cap="all" spc="0" normalizeH="0" baseline="0" dirty="0" smtClean="0">
                <a:ln>
                  <a:noFill/>
                </a:ln>
                <a:solidFill>
                  <a:srgbClr val="0078D4"/>
                </a:solidFill>
                <a:effectLst/>
                <a:uLnTx/>
                <a:uFillTx/>
                <a:latin typeface="Segoe UI" panose="020B0502040204020203" pitchFamily="34" charset="0"/>
                <a:ea typeface="+mn-ea"/>
                <a:cs typeface="Segoe UI" panose="020B0502040204020203" pitchFamily="34" charset="0"/>
              </a:defRPr>
            </a:lvl1pPr>
            <a:lvl2pPr marL="0" indent="0">
              <a:spcBef>
                <a:spcPts val="0"/>
              </a:spcBef>
              <a:spcAft>
                <a:spcPts val="1200"/>
              </a:spcAft>
              <a:buNone/>
              <a:defRPr kumimoji="0" lang="en-US" sz="1600" b="0" i="0" u="none" strike="noStrike" kern="1200" cap="none" spc="0" normalizeH="0" baseline="0" dirty="0" smtClean="0">
                <a:ln>
                  <a:noFill/>
                </a:ln>
                <a:solidFill>
                  <a:srgbClr val="0078D4"/>
                </a:solidFill>
                <a:effectLst/>
                <a:uLnTx/>
                <a:uFillTx/>
                <a:latin typeface="Segoe UI Semibold"/>
                <a:ea typeface="+mn-ea"/>
                <a:cs typeface="+mn-cs"/>
              </a:defRPr>
            </a:lvl2pPr>
            <a:lvl3pPr marL="0" indent="0">
              <a:spcAft>
                <a:spcPts val="600"/>
              </a:spcAft>
              <a:buNone/>
              <a:defRPr kumimoji="0" lang="en-US" sz="1200" b="0" i="0" u="none" strike="noStrike" kern="1200" cap="none" spc="0" normalizeH="0" baseline="0" dirty="0" smtClean="0">
                <a:ln>
                  <a:noFill/>
                </a:ln>
                <a:solidFill>
                  <a:srgbClr val="000000"/>
                </a:solidFill>
                <a:effectLst/>
                <a:uLnTx/>
                <a:uFillTx/>
                <a:latin typeface="Segoe UI"/>
                <a:ea typeface="+mn-ea"/>
                <a:cs typeface="+mn-cs"/>
              </a:defRPr>
            </a:lvl3pPr>
            <a:lvl4pPr marL="0" indent="0">
              <a:spcAft>
                <a:spcPts val="600"/>
              </a:spcAft>
              <a:buNone/>
              <a:defRPr sz="1100"/>
            </a:lvl4pPr>
            <a:lvl5pPr marL="0" indent="0">
              <a:spcAft>
                <a:spcPts val="600"/>
              </a:spcAft>
              <a:buNone/>
              <a:defRPr sz="1100" b="1"/>
            </a:lvl5pPr>
          </a:lstStyle>
          <a:p>
            <a:pPr lvl="0"/>
            <a:r>
              <a:rPr lang="en-US"/>
              <a:t>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CA05FDFC-8C37-4C76-93DD-DB38DD38BF5B}"/>
              </a:ext>
            </a:extLst>
          </p:cNvPr>
          <p:cNvSpPr/>
          <p:nvPr userDrawn="1"/>
        </p:nvSpPr>
        <p:spPr bwMode="auto">
          <a:xfrm>
            <a:off x="470853" y="1562470"/>
            <a:ext cx="2084048" cy="4678900"/>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3215766F-1417-4BDC-A6AB-AAA0FB5B04EE}"/>
              </a:ext>
            </a:extLst>
          </p:cNvPr>
          <p:cNvSpPr/>
          <p:nvPr userDrawn="1"/>
        </p:nvSpPr>
        <p:spPr bwMode="auto">
          <a:xfrm>
            <a:off x="2762415" y="1562470"/>
            <a:ext cx="2084048" cy="4678900"/>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CA805530-42F0-474E-B3B5-D3A2D5BFC86D}"/>
              </a:ext>
            </a:extLst>
          </p:cNvPr>
          <p:cNvSpPr/>
          <p:nvPr userDrawn="1"/>
        </p:nvSpPr>
        <p:spPr bwMode="auto">
          <a:xfrm>
            <a:off x="5053977" y="1562470"/>
            <a:ext cx="2084048" cy="4678900"/>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84864E22-CAC0-4931-9FEC-E65F88FDC399}"/>
              </a:ext>
            </a:extLst>
          </p:cNvPr>
          <p:cNvSpPr/>
          <p:nvPr userDrawn="1"/>
        </p:nvSpPr>
        <p:spPr bwMode="auto">
          <a:xfrm>
            <a:off x="7345539" y="1562470"/>
            <a:ext cx="2084048" cy="4678900"/>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BACCDE58-E9A5-4CF6-8247-516FB5534630}"/>
              </a:ext>
            </a:extLst>
          </p:cNvPr>
          <p:cNvSpPr/>
          <p:nvPr userDrawn="1"/>
        </p:nvSpPr>
        <p:spPr bwMode="auto">
          <a:xfrm>
            <a:off x="9637099" y="1562470"/>
            <a:ext cx="2084048" cy="4678900"/>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408154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12">
          <p15:clr>
            <a:srgbClr val="A4A3A4"/>
          </p15:clr>
        </p15:guide>
        <p15:guide id="28" orient="horz" pos="905">
          <p15:clr>
            <a:srgbClr val="5ACBF0"/>
          </p15:clr>
        </p15:guide>
        <p15:guide id="29" orient="horz" pos="1272">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52616866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188153"/>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86288653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ontent Half Left">
    <p:bg>
      <p:bgRef idx="1001">
        <a:schemeClr val="bg2"/>
      </p:bgRef>
    </p:bg>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1" y="2575762"/>
            <a:ext cx="8420099" cy="609398"/>
          </a:xfrm>
          <a:prstGeom prst="rect">
            <a:avLst/>
          </a:prstGeom>
        </p:spPr>
        <p:txBody>
          <a:bodyPr vert="horz" wrap="square" lIns="0" tIns="0" rIns="0" bIns="0" rtlCol="0" anchor="b">
            <a:spAutoFit/>
          </a:bodyPr>
          <a:lstStyle>
            <a:lvl1pPr algn="l">
              <a:defRPr sz="44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3185160"/>
            <a:ext cx="9989821" cy="374398"/>
          </a:xfrm>
        </p:spPr>
        <p:txBody>
          <a:bodyPr>
            <a:spAutoFit/>
          </a:bodyPr>
          <a:lstStyle>
            <a:lvl1pPr marL="0" indent="0" algn="l">
              <a:spcBef>
                <a:spcPts val="0"/>
              </a:spcBef>
              <a:spcAft>
                <a:spcPts val="1200"/>
              </a:spcAft>
              <a:buNone/>
              <a:defRPr sz="2400" b="1" i="0" spc="-60" baseline="0">
                <a:solidFill>
                  <a:schemeClr val="tx2"/>
                </a:solidFill>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98687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09329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centered title">
    <p:bg>
      <p:bgRef idx="1001">
        <a:schemeClr val="bg1"/>
      </p:bgRef>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0E08E74-8857-4FE4-841F-CFB1E7EE476D}"/>
              </a:ext>
            </a:extLst>
          </p:cNvPr>
          <p:cNvSpPr>
            <a:spLocks noGrp="1"/>
          </p:cNvSpPr>
          <p:nvPr>
            <p:ph type="pic" sz="quarter" idx="10"/>
          </p:nvPr>
        </p:nvSpPr>
        <p:spPr>
          <a:xfrm>
            <a:off x="0" y="0"/>
            <a:ext cx="12192000" cy="6858000"/>
          </a:xfrm>
        </p:spPr>
        <p:txBody>
          <a:bodyPr/>
          <a:lstStyle/>
          <a:p>
            <a:endParaRPr lang="en-US"/>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itle 2">
            <a:extLst>
              <a:ext uri="{FF2B5EF4-FFF2-40B4-BE49-F238E27FC236}">
                <a16:creationId xmlns:a16="http://schemas.microsoft.com/office/drawing/2014/main" id="{2E9FF2B1-4069-4221-9710-D69E1E72F4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42588922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9314005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34165741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8195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206307"/>
            <a:ext cx="3477325" cy="1107996"/>
          </a:xfrm>
        </p:spPr>
        <p:txBody>
          <a:bodyPr anchor="b"/>
          <a:lstStyle>
            <a:lvl1pPr algn="l">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372E9528-0A41-4157-9220-1A280716491F}"/>
              </a:ext>
            </a:extLst>
          </p:cNvPr>
          <p:cNvSpPr>
            <a:spLocks noGrp="1"/>
          </p:cNvSpPr>
          <p:nvPr>
            <p:ph type="body" sz="quarter" idx="10"/>
          </p:nvPr>
        </p:nvSpPr>
        <p:spPr>
          <a:xfrm>
            <a:off x="588963" y="3429000"/>
            <a:ext cx="3560762" cy="2111347"/>
          </a:xfrm>
        </p:spPr>
        <p:txBody>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3064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Title Slide">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5ED64A8-E568-CA4E-A55D-CD871D4CB394}"/>
              </a:ext>
            </a:extLst>
          </p:cNvPr>
          <p:cNvSpPr/>
          <p:nvPr userDrawn="1"/>
        </p:nvSpPr>
        <p:spPr>
          <a:xfrm>
            <a:off x="2280355" y="0"/>
            <a:ext cx="4504267" cy="6858000"/>
          </a:xfrm>
          <a:prstGeom prst="rect">
            <a:avLst/>
          </a:prstGeom>
          <a:gradFill>
            <a:gsLst>
              <a:gs pos="0">
                <a:schemeClr val="tx1"/>
              </a:gs>
              <a:gs pos="100000">
                <a:schemeClr val="tx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FE9AF2-8207-894E-B952-9FEA4C1A99F2}"/>
              </a:ext>
            </a:extLst>
          </p:cNvPr>
          <p:cNvSpPr>
            <a:spLocks noGrp="1"/>
          </p:cNvSpPr>
          <p:nvPr>
            <p:ph type="ctrTitle"/>
          </p:nvPr>
        </p:nvSpPr>
        <p:spPr>
          <a:xfrm>
            <a:off x="668752" y="2853493"/>
            <a:ext cx="3863736" cy="2001857"/>
          </a:xfrm>
        </p:spPr>
        <p:txBody>
          <a:bodyPr anchor="t" anchorCtr="0">
            <a:noAutofit/>
          </a:bodyPr>
          <a:lstStyle>
            <a:lvl1pPr algn="l">
              <a:defRPr sz="4000" b="0" i="0">
                <a:solidFill>
                  <a:schemeClr val="bg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A85CB22-0811-984A-91F6-3835BA92E06F}"/>
              </a:ext>
            </a:extLst>
          </p:cNvPr>
          <p:cNvSpPr>
            <a:spLocks noGrp="1"/>
          </p:cNvSpPr>
          <p:nvPr>
            <p:ph type="subTitle" idx="1" hasCustomPrompt="1"/>
          </p:nvPr>
        </p:nvSpPr>
        <p:spPr>
          <a:xfrm>
            <a:off x="668752" y="2322576"/>
            <a:ext cx="3863736" cy="399462"/>
          </a:xfrm>
        </p:spPr>
        <p:txBody>
          <a:bodyPr anchor="t">
            <a:noAutofit/>
          </a:bodyPr>
          <a:lstStyle>
            <a:lvl1pPr marL="0" indent="0" algn="l">
              <a:lnSpc>
                <a:spcPct val="150000"/>
              </a:lnSpc>
              <a:buNone/>
              <a:defRPr sz="1400" b="1" i="0" spc="100" baseline="0">
                <a:solidFill>
                  <a:srgbClr val="0078D4"/>
                </a:solidFill>
                <a:latin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5B850EE6-7607-F44C-A4A8-6979551CF187}"/>
              </a:ext>
            </a:extLst>
          </p:cNvPr>
          <p:cNvPicPr>
            <a:picLocks noChangeAspect="1"/>
          </p:cNvPicPr>
          <p:nvPr userDrawn="1"/>
        </p:nvPicPr>
        <p:blipFill>
          <a:blip r:embed="rId2"/>
          <a:srcRect/>
          <a:stretch/>
        </p:blipFill>
        <p:spPr>
          <a:xfrm>
            <a:off x="447900" y="1315139"/>
            <a:ext cx="2097051" cy="941710"/>
          </a:xfrm>
          <a:prstGeom prst="rect">
            <a:avLst/>
          </a:prstGeom>
        </p:spPr>
      </p:pic>
    </p:spTree>
    <p:extLst>
      <p:ext uri="{BB962C8B-B14F-4D97-AF65-F5344CB8AC3E}">
        <p14:creationId xmlns:p14="http://schemas.microsoft.com/office/powerpoint/2010/main" val="391571827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1078982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4266968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51684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Content Half Left">
    <p:bg>
      <p:bgRef idx="1001">
        <a:schemeClr val="bg2"/>
      </p:bgRef>
    </p:bg>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0" y="1979046"/>
            <a:ext cx="4114800" cy="1218795"/>
          </a:xfrm>
          <a:prstGeom prst="rect">
            <a:avLst/>
          </a:prstGeom>
        </p:spPr>
        <p:txBody>
          <a:bodyPr vert="horz" wrap="square" lIns="0" tIns="0" rIns="0" bIns="0" rtlCol="0" anchor="b">
            <a:spAutoFit/>
          </a:bodyPr>
          <a:lstStyle>
            <a:lvl1pPr algn="l">
              <a:defRPr sz="44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3197841"/>
            <a:ext cx="4114800" cy="738664"/>
          </a:xfrm>
        </p:spPr>
        <p:txBody>
          <a:bodyPr>
            <a:spAutoFit/>
          </a:bodyPr>
          <a:lstStyle>
            <a:lvl1pPr marL="0" indent="0" algn="l">
              <a:spcBef>
                <a:spcPts val="0"/>
              </a:spcBef>
              <a:spcAft>
                <a:spcPts val="1200"/>
              </a:spcAft>
              <a:buNone/>
              <a:defRPr sz="2400" b="1" i="0" spc="-60" baseline="0">
                <a:solidFill>
                  <a:schemeClr val="tx1"/>
                </a:solidFill>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Rectangle 1">
            <a:extLst>
              <a:ext uri="{FF2B5EF4-FFF2-40B4-BE49-F238E27FC236}">
                <a16:creationId xmlns:a16="http://schemas.microsoft.com/office/drawing/2014/main" id="{A2B61818-2F60-44E2-929C-E391BC061332}"/>
              </a:ext>
            </a:extLst>
          </p:cNvPr>
          <p:cNvSpPr/>
          <p:nvPr userDrawn="1"/>
        </p:nvSpPr>
        <p:spPr>
          <a:xfrm>
            <a:off x="6096000" y="0"/>
            <a:ext cx="6096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582068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21502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7228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119415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92566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77400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19305961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189750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4696597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0509647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8578122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2.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26" Type="http://schemas.openxmlformats.org/officeDocument/2006/relationships/image" Target="../media/image12.emf"/><Relationship Id="rId3" Type="http://schemas.openxmlformats.org/officeDocument/2006/relationships/slideLayout" Target="../slideLayouts/slideLayout221.xml"/><Relationship Id="rId21" Type="http://schemas.openxmlformats.org/officeDocument/2006/relationships/slideLayout" Target="../slideLayouts/slideLayout239.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5" Type="http://schemas.openxmlformats.org/officeDocument/2006/relationships/theme" Target="../theme/theme10.xml"/><Relationship Id="rId2" Type="http://schemas.openxmlformats.org/officeDocument/2006/relationships/slideLayout" Target="../slideLayouts/slideLayout220.xml"/><Relationship Id="rId16" Type="http://schemas.openxmlformats.org/officeDocument/2006/relationships/slideLayout" Target="../slideLayouts/slideLayout234.xml"/><Relationship Id="rId20" Type="http://schemas.openxmlformats.org/officeDocument/2006/relationships/slideLayout" Target="../slideLayouts/slideLayout238.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24" Type="http://schemas.openxmlformats.org/officeDocument/2006/relationships/slideLayout" Target="../slideLayouts/slideLayout242.xml"/><Relationship Id="rId5" Type="http://schemas.openxmlformats.org/officeDocument/2006/relationships/slideLayout" Target="../slideLayouts/slideLayout223.xml"/><Relationship Id="rId15" Type="http://schemas.openxmlformats.org/officeDocument/2006/relationships/slideLayout" Target="../slideLayouts/slideLayout233.xml"/><Relationship Id="rId23" Type="http://schemas.openxmlformats.org/officeDocument/2006/relationships/slideLayout" Target="../slideLayouts/slideLayout241.xml"/><Relationship Id="rId10" Type="http://schemas.openxmlformats.org/officeDocument/2006/relationships/slideLayout" Target="../slideLayouts/slideLayout228.xml"/><Relationship Id="rId19" Type="http://schemas.openxmlformats.org/officeDocument/2006/relationships/slideLayout" Target="../slideLayouts/slideLayout237.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 Id="rId22" Type="http://schemas.openxmlformats.org/officeDocument/2006/relationships/slideLayout" Target="../slideLayouts/slideLayout240.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theme" Target="../theme/theme2.xml"/><Relationship Id="rId1"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image" Target="../media/image12.emf"/><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theme" Target="../theme/theme3.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 Id="rId8" Type="http://schemas.openxmlformats.org/officeDocument/2006/relationships/slideLayout" Target="../slideLayouts/slideLayout49.xml"/><Relationship Id="rId3"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5.xml"/><Relationship Id="rId3" Type="http://schemas.openxmlformats.org/officeDocument/2006/relationships/slideLayout" Target="../slideLayouts/slideLayout80.xml"/><Relationship Id="rId7" Type="http://schemas.openxmlformats.org/officeDocument/2006/relationships/slideLayout" Target="../slideLayouts/slideLayout84.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image" Target="../media/image12.emf"/><Relationship Id="rId5" Type="http://schemas.openxmlformats.org/officeDocument/2006/relationships/slideLayout" Target="../slideLayouts/slideLayout82.xml"/><Relationship Id="rId10" Type="http://schemas.openxmlformats.org/officeDocument/2006/relationships/theme" Target="../theme/theme4.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29" Type="http://schemas.openxmlformats.org/officeDocument/2006/relationships/theme" Target="../theme/theme5.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image" Target="../media/image12.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 Type="http://schemas.openxmlformats.org/officeDocument/2006/relationships/slideLayout" Target="../slideLayouts/slideLayout117.xml"/><Relationship Id="rId21" Type="http://schemas.openxmlformats.org/officeDocument/2006/relationships/slideLayout" Target="../slideLayouts/slideLayout135.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theme" Target="../theme/theme6.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image" Target="../media/image12.emf"/><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theme" Target="../theme/theme7.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26" Type="http://schemas.openxmlformats.org/officeDocument/2006/relationships/slideLayout" Target="../slideLayouts/slideLayout194.xml"/><Relationship Id="rId3" Type="http://schemas.openxmlformats.org/officeDocument/2006/relationships/slideLayout" Target="../slideLayouts/slideLayout171.xml"/><Relationship Id="rId21" Type="http://schemas.openxmlformats.org/officeDocument/2006/relationships/slideLayout" Target="../slideLayouts/slideLayout189.xml"/><Relationship Id="rId34" Type="http://schemas.openxmlformats.org/officeDocument/2006/relationships/slideLayout" Target="../slideLayouts/slideLayout202.xml"/><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slideLayout" Target="../slideLayouts/slideLayout193.xml"/><Relationship Id="rId33" Type="http://schemas.openxmlformats.org/officeDocument/2006/relationships/slideLayout" Target="../slideLayouts/slideLayout201.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0" Type="http://schemas.openxmlformats.org/officeDocument/2006/relationships/slideLayout" Target="../slideLayouts/slideLayout188.xml"/><Relationship Id="rId29" Type="http://schemas.openxmlformats.org/officeDocument/2006/relationships/slideLayout" Target="../slideLayouts/slideLayout197.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24" Type="http://schemas.openxmlformats.org/officeDocument/2006/relationships/slideLayout" Target="../slideLayouts/slideLayout192.xml"/><Relationship Id="rId32" Type="http://schemas.openxmlformats.org/officeDocument/2006/relationships/slideLayout" Target="../slideLayouts/slideLayout200.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slideLayout" Target="../slideLayouts/slideLayout196.xml"/><Relationship Id="rId36" Type="http://schemas.openxmlformats.org/officeDocument/2006/relationships/image" Target="../media/image2.emf"/><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31" Type="http://schemas.openxmlformats.org/officeDocument/2006/relationships/slideLayout" Target="../slideLayouts/slideLayout199.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slideLayout" Target="../slideLayouts/slideLayout195.xml"/><Relationship Id="rId30" Type="http://schemas.openxmlformats.org/officeDocument/2006/relationships/slideLayout" Target="../slideLayouts/slideLayout198.xml"/><Relationship Id="rId35" Type="http://schemas.openxmlformats.org/officeDocument/2006/relationships/theme" Target="../theme/theme8.xml"/><Relationship Id="rId8" Type="http://schemas.openxmlformats.org/officeDocument/2006/relationships/slideLayout" Target="../slideLayouts/slideLayout17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slideLayout" Target="../slideLayouts/slideLayout215.xml"/><Relationship Id="rId18" Type="http://schemas.openxmlformats.org/officeDocument/2006/relationships/image" Target="../media/image49.png"/><Relationship Id="rId3" Type="http://schemas.openxmlformats.org/officeDocument/2006/relationships/slideLayout" Target="../slideLayouts/slideLayout205.xml"/><Relationship Id="rId7" Type="http://schemas.openxmlformats.org/officeDocument/2006/relationships/slideLayout" Target="../slideLayouts/slideLayout209.xml"/><Relationship Id="rId12" Type="http://schemas.openxmlformats.org/officeDocument/2006/relationships/slideLayout" Target="../slideLayouts/slideLayout214.xml"/><Relationship Id="rId17" Type="http://schemas.openxmlformats.org/officeDocument/2006/relationships/theme" Target="../theme/theme9.xml"/><Relationship Id="rId2" Type="http://schemas.openxmlformats.org/officeDocument/2006/relationships/slideLayout" Target="../slideLayouts/slideLayout204.xml"/><Relationship Id="rId16" Type="http://schemas.openxmlformats.org/officeDocument/2006/relationships/slideLayout" Target="../slideLayouts/slideLayout218.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slideLayout" Target="../slideLayouts/slideLayout213.xml"/><Relationship Id="rId5" Type="http://schemas.openxmlformats.org/officeDocument/2006/relationships/slideLayout" Target="../slideLayouts/slideLayout207.xml"/><Relationship Id="rId15" Type="http://schemas.openxmlformats.org/officeDocument/2006/relationships/slideLayout" Target="../slideLayouts/slideLayout217.xml"/><Relationship Id="rId10" Type="http://schemas.openxmlformats.org/officeDocument/2006/relationships/slideLayout" Target="../slideLayouts/slideLayout212.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slideLayout" Target="../slideLayouts/slideLayout2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42"/>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473031"/>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749376"/>
            <a:ext cx="11336039" cy="1919756"/>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3"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3336251274"/>
      </p:ext>
    </p:extLst>
  </p:cSld>
  <p:clrMap bg1="lt1" tx1="dk1" bg2="lt2" tx2="dk2" accent1="accent1" accent2="accent2" accent3="accent3" accent4="accent4" accent5="accent5" accent6="accent6" hlink="hlink" folHlink="folHlink"/>
  <p:sldLayoutIdLst>
    <p:sldLayoutId id="2147483690" r:id="rId1"/>
    <p:sldLayoutId id="2147485293" r:id="rId2"/>
    <p:sldLayoutId id="2147483691" r:id="rId3"/>
    <p:sldLayoutId id="2147483692" r:id="rId4"/>
    <p:sldLayoutId id="2147483693" r:id="rId5"/>
    <p:sldLayoutId id="2147483694" r:id="rId6"/>
    <p:sldLayoutId id="2147483695" r:id="rId7"/>
    <p:sldLayoutId id="2147483696" r:id="rId8"/>
    <p:sldLayoutId id="2147483697" r:id="rId9"/>
    <p:sldLayoutId id="2147484074" r:id="rId10"/>
    <p:sldLayoutId id="2147483698" r:id="rId11"/>
    <p:sldLayoutId id="2147483701" r:id="rId12"/>
    <p:sldLayoutId id="2147484071" r:id="rId13"/>
    <p:sldLayoutId id="2147484136" r:id="rId14"/>
    <p:sldLayoutId id="2147484073" r:id="rId15"/>
    <p:sldLayoutId id="2147483702" r:id="rId16"/>
    <p:sldLayoutId id="2147484034" r:id="rId17"/>
    <p:sldLayoutId id="2147484033" r:id="rId18"/>
    <p:sldLayoutId id="2147484027" r:id="rId19"/>
    <p:sldLayoutId id="2147484030" r:id="rId20"/>
    <p:sldLayoutId id="2147484032" r:id="rId21"/>
    <p:sldLayoutId id="2147484031" r:id="rId22"/>
    <p:sldLayoutId id="2147484072" r:id="rId23"/>
    <p:sldLayoutId id="2147484075" r:id="rId24"/>
    <p:sldLayoutId id="2147484540" r:id="rId25"/>
    <p:sldLayoutId id="2147484076" r:id="rId26"/>
    <p:sldLayoutId id="2147484104" r:id="rId27"/>
    <p:sldLayoutId id="2147484025" r:id="rId28"/>
    <p:sldLayoutId id="2147484106" r:id="rId29"/>
    <p:sldLayoutId id="2147484105" r:id="rId30"/>
    <p:sldLayoutId id="2147484026" r:id="rId31"/>
    <p:sldLayoutId id="2147484293" r:id="rId32"/>
    <p:sldLayoutId id="2147484294" r:id="rId33"/>
    <p:sldLayoutId id="2147484028" r:id="rId34"/>
    <p:sldLayoutId id="2147484029" r:id="rId35"/>
    <p:sldLayoutId id="2147484024" r:id="rId36"/>
    <p:sldLayoutId id="2147484586" r:id="rId37"/>
    <p:sldLayoutId id="2147484587" r:id="rId38"/>
    <p:sldLayoutId id="2147484588" r:id="rId39"/>
    <p:sldLayoutId id="2147485292" r:id="rId40"/>
  </p:sldLayoutIdLst>
  <p:transition>
    <p:fade/>
  </p:transition>
  <p:hf sldNum="0" hdr="0" dt="0"/>
  <p:txStyles>
    <p:titleStyle>
      <a:lvl1pPr algn="ctr" defTabSz="914192" rtl="0" eaLnBrk="1" latinLnBrk="0" hangingPunct="1">
        <a:lnSpc>
          <a:spcPct val="90000"/>
        </a:lnSpc>
        <a:spcBef>
          <a:spcPct val="0"/>
        </a:spcBef>
        <a:buNone/>
        <a:defRPr lang="en-US" sz="3200" b="0" kern="1200" cap="none" spc="-147" baseline="0" dirty="0" smtClean="0">
          <a:ln w="3175">
            <a:noFill/>
          </a:ln>
          <a:solidFill>
            <a:schemeClr val="tx1"/>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0" marR="0" indent="0" algn="l" defTabSz="914192" rtl="0" eaLnBrk="1" fontAlgn="auto" latinLnBrk="0" hangingPunct="1">
        <a:lnSpc>
          <a:spcPct val="100000"/>
        </a:lnSpc>
        <a:spcBef>
          <a:spcPts val="1200"/>
        </a:spcBef>
        <a:spcAft>
          <a:spcPts val="1200"/>
        </a:spcAft>
        <a:buClrTx/>
        <a:buSzPct val="90000"/>
        <a:buFont typeface="Wingdings" panose="05000000000000000000" pitchFamily="2" charset="2"/>
        <a:buNone/>
        <a:tabLst/>
        <a:defRPr sz="1400" b="1" i="0" kern="1200" cap="all" spc="100" baseline="0">
          <a:solidFill>
            <a:schemeClr val="tx2"/>
          </a:solidFill>
          <a:latin typeface="+mn-lt"/>
          <a:ea typeface="+mn-ea"/>
          <a:cs typeface="+mn-cs"/>
        </a:defRPr>
      </a:lvl4pPr>
      <a:lvl5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26"/>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746292180"/>
      </p:ext>
    </p:extLst>
  </p:cSld>
  <p:clrMap bg1="dk1" tx1="lt1" bg2="dk2" tx2="lt2" accent1="accent1" accent2="accent2" accent3="accent3" accent4="accent4" accent5="accent5" accent6="accent6" hlink="hlink" folHlink="folHlink"/>
  <p:sldLayoutIdLst>
    <p:sldLayoutId id="2147485349" r:id="rId1"/>
    <p:sldLayoutId id="2147485350" r:id="rId2"/>
    <p:sldLayoutId id="2147485351" r:id="rId3"/>
    <p:sldLayoutId id="2147485352" r:id="rId4"/>
    <p:sldLayoutId id="2147485353" r:id="rId5"/>
    <p:sldLayoutId id="2147485354" r:id="rId6"/>
    <p:sldLayoutId id="2147485355" r:id="rId7"/>
    <p:sldLayoutId id="2147485356" r:id="rId8"/>
    <p:sldLayoutId id="2147485357" r:id="rId9"/>
    <p:sldLayoutId id="2147485358" r:id="rId10"/>
    <p:sldLayoutId id="2147485359" r:id="rId11"/>
    <p:sldLayoutId id="2147485360" r:id="rId12"/>
    <p:sldLayoutId id="2147485361" r:id="rId13"/>
    <p:sldLayoutId id="2147485362" r:id="rId14"/>
    <p:sldLayoutId id="2147485363" r:id="rId15"/>
    <p:sldLayoutId id="2147485364" r:id="rId16"/>
    <p:sldLayoutId id="2147485365" r:id="rId17"/>
    <p:sldLayoutId id="2147485366" r:id="rId18"/>
    <p:sldLayoutId id="2147485367" r:id="rId19"/>
    <p:sldLayoutId id="2147485368" r:id="rId20"/>
    <p:sldLayoutId id="2147485369" r:id="rId21"/>
    <p:sldLayoutId id="2147485370" r:id="rId22"/>
    <p:sldLayoutId id="2147485371" r:id="rId23"/>
    <p:sldLayoutId id="2147485372" r:id="rId24"/>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231312118"/>
      </p:ext>
    </p:extLst>
  </p:cSld>
  <p:clrMap bg1="dk1" tx1="lt1" bg2="dk2" tx2="lt2" accent1="accent1" accent2="accent2" accent3="accent3" accent4="accent4" accent5="accent5" accent6="accent6" hlink="hlink" folHlink="folHlink"/>
  <p:sldLayoutIdLst>
    <p:sldLayoutId id="2147484292"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8"/>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769926621"/>
      </p:ext>
    </p:extLst>
  </p:cSld>
  <p:clrMap bg1="lt1" tx1="dk1" bg2="lt2" tx2="dk2" accent1="accent1" accent2="accent2" accent3="accent3" accent4="accent4" accent5="accent5" accent6="accent6" hlink="hlink" folHlink="folHlink"/>
  <p:sldLayoutIdLst>
    <p:sldLayoutId id="2147484297" r:id="rId1"/>
    <p:sldLayoutId id="2147484298" r:id="rId2"/>
    <p:sldLayoutId id="2147484299" r:id="rId3"/>
    <p:sldLayoutId id="2147484300" r:id="rId4"/>
    <p:sldLayoutId id="2147484301" r:id="rId5"/>
    <p:sldLayoutId id="2147484302" r:id="rId6"/>
    <p:sldLayoutId id="2147484303" r:id="rId7"/>
    <p:sldLayoutId id="2147484304" r:id="rId8"/>
    <p:sldLayoutId id="2147484305" r:id="rId9"/>
    <p:sldLayoutId id="2147484306" r:id="rId10"/>
    <p:sldLayoutId id="2147484307" r:id="rId11"/>
    <p:sldLayoutId id="2147484308" r:id="rId12"/>
    <p:sldLayoutId id="2147484309" r:id="rId13"/>
    <p:sldLayoutId id="2147484310" r:id="rId14"/>
    <p:sldLayoutId id="2147484311" r:id="rId15"/>
    <p:sldLayoutId id="2147484312" r:id="rId16"/>
    <p:sldLayoutId id="2147484313" r:id="rId17"/>
    <p:sldLayoutId id="2147484314" r:id="rId18"/>
    <p:sldLayoutId id="2147484315" r:id="rId19"/>
    <p:sldLayoutId id="2147484316" r:id="rId20"/>
    <p:sldLayoutId id="2147484317" r:id="rId21"/>
    <p:sldLayoutId id="2147484318" r:id="rId22"/>
    <p:sldLayoutId id="2147484319" r:id="rId23"/>
    <p:sldLayoutId id="2147484320" r:id="rId24"/>
    <p:sldLayoutId id="2147484321" r:id="rId25"/>
    <p:sldLayoutId id="2147484322" r:id="rId26"/>
    <p:sldLayoutId id="2147484323" r:id="rId27"/>
    <p:sldLayoutId id="2147484324" r:id="rId28"/>
    <p:sldLayoutId id="2147484325" r:id="rId29"/>
    <p:sldLayoutId id="2147484326" r:id="rId30"/>
    <p:sldLayoutId id="2147484327" r:id="rId31"/>
    <p:sldLayoutId id="2147484328" r:id="rId32"/>
    <p:sldLayoutId id="2147484329" r:id="rId33"/>
    <p:sldLayoutId id="2147484330" r:id="rId34"/>
    <p:sldLayoutId id="2147484331" r:id="rId35"/>
    <p:sldLayoutId id="2147484332" r:id="rId3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104927197"/>
      </p:ext>
    </p:extLst>
  </p:cSld>
  <p:clrMap bg1="dk1" tx1="lt1" bg2="dk2" tx2="lt2" accent1="accent1" accent2="accent2" accent3="accent3" accent4="accent4" accent5="accent5" accent6="accent6" hlink="hlink" folHlink="folHlink"/>
  <p:sldLayoutIdLst>
    <p:sldLayoutId id="2147484542" r:id="rId1"/>
    <p:sldLayoutId id="2147484543" r:id="rId2"/>
    <p:sldLayoutId id="2147484544" r:id="rId3"/>
    <p:sldLayoutId id="2147484545" r:id="rId4"/>
    <p:sldLayoutId id="2147484591" r:id="rId5"/>
    <p:sldLayoutId id="2147484592" r:id="rId6"/>
    <p:sldLayoutId id="2147484593" r:id="rId7"/>
    <p:sldLayoutId id="2147485375" r:id="rId8"/>
    <p:sldLayoutId id="2147485377" r:id="rId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474253839"/>
      </p:ext>
    </p:extLst>
  </p:cSld>
  <p:clrMap bg1="dk1" tx1="lt1" bg2="dk2" tx2="lt2" accent1="accent1" accent2="accent2" accent3="accent3" accent4="accent4" accent5="accent5" accent6="accent6" hlink="hlink" folHlink="folHlink"/>
  <p:sldLayoutIdLst>
    <p:sldLayoutId id="2147484553" r:id="rId1"/>
    <p:sldLayoutId id="2147484554" r:id="rId2"/>
    <p:sldLayoutId id="2147484555" r:id="rId3"/>
    <p:sldLayoutId id="2147484556" r:id="rId4"/>
    <p:sldLayoutId id="2147484557" r:id="rId5"/>
    <p:sldLayoutId id="2147484558" r:id="rId6"/>
    <p:sldLayoutId id="2147484559" r:id="rId7"/>
    <p:sldLayoutId id="2147484560" r:id="rId8"/>
    <p:sldLayoutId id="2147484561" r:id="rId9"/>
    <p:sldLayoutId id="2147484562" r:id="rId10"/>
    <p:sldLayoutId id="2147484563" r:id="rId11"/>
    <p:sldLayoutId id="2147484564" r:id="rId12"/>
    <p:sldLayoutId id="2147484565" r:id="rId13"/>
    <p:sldLayoutId id="2147484566" r:id="rId14"/>
    <p:sldLayoutId id="2147484567" r:id="rId15"/>
    <p:sldLayoutId id="2147484568" r:id="rId16"/>
    <p:sldLayoutId id="2147484569" r:id="rId17"/>
    <p:sldLayoutId id="2147484570" r:id="rId18"/>
    <p:sldLayoutId id="2147484571" r:id="rId19"/>
    <p:sldLayoutId id="2147484572" r:id="rId20"/>
    <p:sldLayoutId id="2147484573" r:id="rId21"/>
    <p:sldLayoutId id="2147484574" r:id="rId22"/>
    <p:sldLayoutId id="2147484575" r:id="rId23"/>
    <p:sldLayoutId id="2147484576" r:id="rId24"/>
    <p:sldLayoutId id="2147484577" r:id="rId25"/>
    <p:sldLayoutId id="2147484578" r:id="rId26"/>
    <p:sldLayoutId id="2147484579" r:id="rId27"/>
    <p:sldLayoutId id="2147484580" r:id="rId2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2623267"/>
      </p:ext>
    </p:extLst>
  </p:cSld>
  <p:clrMap bg1="lt1" tx1="dk1" bg2="lt2" tx2="dk2" accent1="accent1" accent2="accent2" accent3="accent3" accent4="accent4" accent5="accent5" accent6="accent6" hlink="hlink" folHlink="folHlink"/>
  <p:sldLayoutIdLst>
    <p:sldLayoutId id="2147485068" r:id="rId1"/>
    <p:sldLayoutId id="2147485069" r:id="rId2"/>
    <p:sldLayoutId id="2147485070" r:id="rId3"/>
    <p:sldLayoutId id="2147485071" r:id="rId4"/>
    <p:sldLayoutId id="2147485163" r:id="rId5"/>
    <p:sldLayoutId id="2147485164" r:id="rId6"/>
    <p:sldLayoutId id="2147485165" r:id="rId7"/>
    <p:sldLayoutId id="2147485166" r:id="rId8"/>
    <p:sldLayoutId id="2147485167" r:id="rId9"/>
    <p:sldLayoutId id="2147485168" r:id="rId10"/>
    <p:sldLayoutId id="2147485169" r:id="rId11"/>
    <p:sldLayoutId id="2147485170" r:id="rId12"/>
    <p:sldLayoutId id="2147485076" r:id="rId13"/>
    <p:sldLayoutId id="2147485077" r:id="rId14"/>
    <p:sldLayoutId id="2147485078" r:id="rId15"/>
    <p:sldLayoutId id="2147485171" r:id="rId16"/>
    <p:sldLayoutId id="2147485172" r:id="rId17"/>
    <p:sldLayoutId id="2147485173" r:id="rId18"/>
    <p:sldLayoutId id="2147485174" r:id="rId19"/>
    <p:sldLayoutId id="2147485080" r:id="rId20"/>
    <p:sldLayoutId id="2147485081" r:id="rId21"/>
    <p:sldLayoutId id="2147485082" r:id="rId22"/>
    <p:sldLayoutId id="2147485083" r:id="rId23"/>
    <p:sldLayoutId id="2147485084" r:id="rId24"/>
    <p:sldLayoutId id="2147485085" r:id="rId25"/>
    <p:sldLayoutId id="2147485175" r:id="rId26"/>
    <p:sldLayoutId id="2147485176" r:id="rId27"/>
    <p:sldLayoutId id="2147485177" r:id="rId28"/>
    <p:sldLayoutId id="2147485178" r:id="rId29"/>
    <p:sldLayoutId id="2147485179" r:id="rId30"/>
    <p:sldLayoutId id="2147485180" r:id="rId31"/>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1">
          <p15:clr>
            <a:srgbClr val="5ACBF0"/>
          </p15:clr>
        </p15:guide>
        <p15:guide id="2" pos="176">
          <p15:clr>
            <a:srgbClr val="5ACBF0"/>
          </p15:clr>
        </p15:guide>
        <p15:guide id="3" pos="764">
          <p15:clr>
            <a:srgbClr val="5ACBF0"/>
          </p15:clr>
        </p15:guide>
        <p15:guide id="4" pos="1352">
          <p15:clr>
            <a:srgbClr val="5ACBF0"/>
          </p15:clr>
        </p15:guide>
        <p15:guide id="5" pos="1939">
          <p15:clr>
            <a:srgbClr val="5ACBF0"/>
          </p15:clr>
        </p15:guide>
        <p15:guide id="6" pos="2527">
          <p15:clr>
            <a:srgbClr val="5ACBF0"/>
          </p15:clr>
        </p15:guide>
        <p15:guide id="7" pos="3114">
          <p15:clr>
            <a:srgbClr val="5ACBF0"/>
          </p15:clr>
        </p15:guide>
        <p15:guide id="8" pos="3702">
          <p15:clr>
            <a:srgbClr val="5ACBF0"/>
          </p15:clr>
        </p15:guide>
        <p15:guide id="9" pos="4289">
          <p15:clr>
            <a:srgbClr val="5ACBF0"/>
          </p15:clr>
        </p15:guide>
        <p15:guide id="10" pos="4877">
          <p15:clr>
            <a:srgbClr val="5ACBF0"/>
          </p15:clr>
        </p15:guide>
        <p15:guide id="11" pos="5464">
          <p15:clr>
            <a:srgbClr val="5ACBF0"/>
          </p15:clr>
        </p15:guide>
        <p15:guide id="12" pos="6052">
          <p15:clr>
            <a:srgbClr val="5ACBF0"/>
          </p15:clr>
        </p15:guide>
        <p15:guide id="13" pos="6640">
          <p15:clr>
            <a:srgbClr val="5ACBF0"/>
          </p15:clr>
        </p15:guide>
        <p15:guide id="14" pos="7227">
          <p15:clr>
            <a:srgbClr val="5ACBF0"/>
          </p15:clr>
        </p15:guide>
        <p15:guide id="15" pos="7815">
          <p15:clr>
            <a:srgbClr val="5ACBF0"/>
          </p15:clr>
        </p15:guide>
        <p15:guide id="16" pos="294">
          <p15:clr>
            <a:srgbClr val="C35EA4"/>
          </p15:clr>
        </p15:guide>
        <p15:guide id="17" pos="7697">
          <p15:clr>
            <a:srgbClr val="C35EA4"/>
          </p15:clr>
        </p15:guide>
        <p15:guide id="18" orient="horz" pos="778">
          <p15:clr>
            <a:srgbClr val="5ACBF0"/>
          </p15:clr>
        </p15:guide>
        <p15:guide id="19" orient="horz" pos="1366">
          <p15:clr>
            <a:srgbClr val="5ACBF0"/>
          </p15:clr>
        </p15:guide>
        <p15:guide id="20" orient="horz" pos="1953">
          <p15:clr>
            <a:srgbClr val="5ACBF0"/>
          </p15:clr>
        </p15:guide>
        <p15:guide id="21" orient="horz" pos="2541">
          <p15:clr>
            <a:srgbClr val="5ACBF0"/>
          </p15:clr>
        </p15:guide>
        <p15:guide id="22" orient="horz" pos="3128">
          <p15:clr>
            <a:srgbClr val="5ACBF0"/>
          </p15:clr>
        </p15:guide>
        <p15:guide id="23" orient="horz" pos="3716">
          <p15:clr>
            <a:srgbClr val="5ACBF0"/>
          </p15:clr>
        </p15:guide>
        <p15:guide id="24" orient="horz" pos="4303">
          <p15:clr>
            <a:srgbClr val="5ACBF0"/>
          </p15:clr>
        </p15:guide>
        <p15:guide id="25" orient="horz" pos="308">
          <p15:clr>
            <a:srgbClr val="C35EA4"/>
          </p15:clr>
        </p15:guide>
        <p15:guide id="26" orient="horz" pos="4186">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25"/>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3116285726"/>
      </p:ext>
    </p:extLst>
  </p:cSld>
  <p:clrMap bg1="lt1" tx1="dk1" bg2="lt2" tx2="dk2" accent1="accent1" accent2="accent2" accent3="accent3" accent4="accent4" accent5="accent5" accent6="accent6" hlink="hlink" folHlink="folHlink"/>
  <p:sldLayoutIdLst>
    <p:sldLayoutId id="2147485261" r:id="rId1"/>
    <p:sldLayoutId id="2147485262" r:id="rId2"/>
    <p:sldLayoutId id="2147485263" r:id="rId3"/>
    <p:sldLayoutId id="2147485264" r:id="rId4"/>
    <p:sldLayoutId id="2147485265" r:id="rId5"/>
    <p:sldLayoutId id="2147485266" r:id="rId6"/>
    <p:sldLayoutId id="2147485267" r:id="rId7"/>
    <p:sldLayoutId id="2147485268" r:id="rId8"/>
    <p:sldLayoutId id="2147485269" r:id="rId9"/>
    <p:sldLayoutId id="2147485270" r:id="rId10"/>
    <p:sldLayoutId id="2147485271" r:id="rId11"/>
    <p:sldLayoutId id="2147485272" r:id="rId12"/>
    <p:sldLayoutId id="2147485273" r:id="rId13"/>
    <p:sldLayoutId id="2147485274" r:id="rId14"/>
    <p:sldLayoutId id="2147485275" r:id="rId15"/>
    <p:sldLayoutId id="2147485276" r:id="rId16"/>
    <p:sldLayoutId id="2147485277" r:id="rId17"/>
    <p:sldLayoutId id="2147485278" r:id="rId18"/>
    <p:sldLayoutId id="2147485279" r:id="rId19"/>
    <p:sldLayoutId id="2147485280" r:id="rId20"/>
    <p:sldLayoutId id="2147485281" r:id="rId21"/>
    <p:sldLayoutId id="2147485282" r:id="rId22"/>
    <p:sldLayoutId id="2147485284" r:id="rId23"/>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35589"/>
          </a:xfrm>
          <a:prstGeom prst="rect">
            <a:avLst/>
          </a:prstGeom>
        </p:spPr>
        <p:txBody>
          <a:bodyPr vert="horz" wrap="square" lIns="182880" tIns="91440" rIns="91440"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408388211"/>
      </p:ext>
    </p:extLst>
  </p:cSld>
  <p:clrMap bg1="lt1" tx1="dk1" bg2="lt2" tx2="dk2" accent1="accent1" accent2="accent2" accent3="accent3" accent4="accent4" accent5="accent5" accent6="accent6" hlink="hlink" folHlink="folHlink"/>
  <p:sldLayoutIdLst>
    <p:sldLayoutId id="2147485296" r:id="rId1"/>
    <p:sldLayoutId id="2147485297" r:id="rId2"/>
    <p:sldLayoutId id="2147485298" r:id="rId3"/>
    <p:sldLayoutId id="2147485299" r:id="rId4"/>
    <p:sldLayoutId id="2147485300" r:id="rId5"/>
    <p:sldLayoutId id="2147485301" r:id="rId6"/>
    <p:sldLayoutId id="2147485302" r:id="rId7"/>
    <p:sldLayoutId id="2147485303" r:id="rId8"/>
    <p:sldLayoutId id="2147485304" r:id="rId9"/>
    <p:sldLayoutId id="2147485305" r:id="rId10"/>
    <p:sldLayoutId id="2147485306" r:id="rId11"/>
    <p:sldLayoutId id="2147485307" r:id="rId12"/>
    <p:sldLayoutId id="2147485308" r:id="rId13"/>
    <p:sldLayoutId id="2147485309" r:id="rId14"/>
    <p:sldLayoutId id="2147485310" r:id="rId15"/>
    <p:sldLayoutId id="2147485311" r:id="rId16"/>
    <p:sldLayoutId id="2147485312" r:id="rId17"/>
    <p:sldLayoutId id="2147485313" r:id="rId18"/>
    <p:sldLayoutId id="2147485314" r:id="rId19"/>
    <p:sldLayoutId id="2147485315" r:id="rId20"/>
    <p:sldLayoutId id="2147485316" r:id="rId21"/>
    <p:sldLayoutId id="2147485317" r:id="rId22"/>
    <p:sldLayoutId id="2147485318" r:id="rId23"/>
    <p:sldLayoutId id="2147485319" r:id="rId24"/>
    <p:sldLayoutId id="2147485320" r:id="rId25"/>
    <p:sldLayoutId id="2147485321" r:id="rId26"/>
    <p:sldLayoutId id="2147485322" r:id="rId27"/>
    <p:sldLayoutId id="2147485323" r:id="rId28"/>
    <p:sldLayoutId id="2147485324" r:id="rId29"/>
    <p:sldLayoutId id="2147485325" r:id="rId30"/>
    <p:sldLayoutId id="2147485326" r:id="rId31"/>
    <p:sldLayoutId id="2147485327" r:id="rId32"/>
    <p:sldLayoutId id="2147485328" r:id="rId33"/>
    <p:sldLayoutId id="2147485329" r:id="rId34"/>
  </p:sldLayoutIdLst>
  <p:transition>
    <p:fade/>
  </p:transition>
  <p:hf hdr="0" ftr="0" dt="0"/>
  <p:txStyles>
    <p:titleStyle>
      <a:lvl1pPr algn="l" defTabSz="914367" rtl="0" eaLnBrk="1" latinLnBrk="0" hangingPunct="1">
        <a:lnSpc>
          <a:spcPct val="90000"/>
        </a:lnSpc>
        <a:spcBef>
          <a:spcPct val="0"/>
        </a:spcBef>
        <a:buNone/>
        <a:defRPr lang="en-US" sz="3921" b="0" kern="1200" cap="none" spc="-100"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2353" b="0" i="0" kern="1200" spc="0" baseline="0">
          <a:solidFill>
            <a:schemeClr val="tx1"/>
          </a:solidFill>
          <a:latin typeface="+mn-lt"/>
          <a:ea typeface="+mn-ea"/>
          <a:cs typeface="+mn-cs"/>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765" b="0" i="0" kern="1200" spc="0" baseline="0">
          <a:solidFill>
            <a:schemeClr val="tx1"/>
          </a:solidFill>
          <a:latin typeface="+mn-lt"/>
          <a:ea typeface="+mn-ea"/>
          <a:cs typeface="+mn-cs"/>
        </a:defRPr>
      </a:lvl2pPr>
      <a:lvl3pPr marL="448193"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3pPr>
      <a:lvl4pPr marL="672290"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4pPr>
      <a:lvl5pPr marL="896386"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71">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8"/>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675329452"/>
      </p:ext>
    </p:extLst>
  </p:cSld>
  <p:clrMap bg1="lt1" tx1="dk1" bg2="lt2" tx2="dk2" accent1="accent1" accent2="accent2" accent3="accent3" accent4="accent4" accent5="accent5" accent6="accent6" hlink="hlink" folHlink="folHlink"/>
  <p:sldLayoutIdLst>
    <p:sldLayoutId id="2147485331" r:id="rId1"/>
    <p:sldLayoutId id="2147485332" r:id="rId2"/>
    <p:sldLayoutId id="2147485333" r:id="rId3"/>
    <p:sldLayoutId id="2147485334" r:id="rId4"/>
    <p:sldLayoutId id="2147485335" r:id="rId5"/>
    <p:sldLayoutId id="2147485336" r:id="rId6"/>
    <p:sldLayoutId id="2147485337" r:id="rId7"/>
    <p:sldLayoutId id="2147485338" r:id="rId8"/>
    <p:sldLayoutId id="2147485339" r:id="rId9"/>
    <p:sldLayoutId id="2147485340" r:id="rId10"/>
    <p:sldLayoutId id="2147485341" r:id="rId11"/>
    <p:sldLayoutId id="2147485342" r:id="rId12"/>
    <p:sldLayoutId id="2147485343" r:id="rId13"/>
    <p:sldLayoutId id="2147485344" r:id="rId14"/>
    <p:sldLayoutId id="2147485345" r:id="rId15"/>
    <p:sldLayoutId id="2147485346" r:id="rId16"/>
  </p:sldLayoutIdLst>
  <p:transition>
    <p:fade/>
  </p:transition>
  <p:hf hdr="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1.xml"/><Relationship Id="rId1" Type="http://schemas.openxmlformats.org/officeDocument/2006/relationships/slideLayout" Target="../slideLayouts/slideLayout85.xml"/></Relationships>
</file>

<file path=ppt/slides/_rels/slide1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0.xml"/><Relationship Id="rId1" Type="http://schemas.openxmlformats.org/officeDocument/2006/relationships/slideLayout" Target="../slideLayouts/slideLayout82.xml"/><Relationship Id="rId4" Type="http://schemas.openxmlformats.org/officeDocument/2006/relationships/image" Target="../media/image107.svg"/></Relationships>
</file>

<file path=ppt/slides/_rels/slide11.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image" Target="../media/image81.png"/><Relationship Id="rId18" Type="http://schemas.openxmlformats.org/officeDocument/2006/relationships/image" Target="../media/image115.png"/><Relationship Id="rId3" Type="http://schemas.openxmlformats.org/officeDocument/2006/relationships/image" Target="../media/image76.png"/><Relationship Id="rId7" Type="http://schemas.openxmlformats.org/officeDocument/2006/relationships/image" Target="../media/image109.png"/><Relationship Id="rId12" Type="http://schemas.openxmlformats.org/officeDocument/2006/relationships/image" Target="../media/image112.png"/><Relationship Id="rId17" Type="http://schemas.openxmlformats.org/officeDocument/2006/relationships/image" Target="../media/image114.png"/><Relationship Id="rId2" Type="http://schemas.openxmlformats.org/officeDocument/2006/relationships/notesSlide" Target="../notesSlides/notesSlide11.xml"/><Relationship Id="rId16" Type="http://schemas.openxmlformats.org/officeDocument/2006/relationships/image" Target="../media/image83.svg"/><Relationship Id="rId1" Type="http://schemas.openxmlformats.org/officeDocument/2006/relationships/slideLayout" Target="../slideLayouts/slideLayout84.xml"/><Relationship Id="rId6" Type="http://schemas.openxmlformats.org/officeDocument/2006/relationships/image" Target="../media/image108.png"/><Relationship Id="rId11" Type="http://schemas.openxmlformats.org/officeDocument/2006/relationships/image" Target="../media/image80.emf"/><Relationship Id="rId5" Type="http://schemas.openxmlformats.org/officeDocument/2006/relationships/image" Target="../media/image78.png"/><Relationship Id="rId15" Type="http://schemas.openxmlformats.org/officeDocument/2006/relationships/image" Target="../media/image82.png"/><Relationship Id="rId10" Type="http://schemas.openxmlformats.org/officeDocument/2006/relationships/image" Target="../media/image79.emf"/><Relationship Id="rId19" Type="http://schemas.openxmlformats.org/officeDocument/2006/relationships/image" Target="../media/image84.png"/><Relationship Id="rId4" Type="http://schemas.openxmlformats.org/officeDocument/2006/relationships/image" Target="../media/image77.png"/><Relationship Id="rId9" Type="http://schemas.openxmlformats.org/officeDocument/2006/relationships/image" Target="../media/image111.png"/><Relationship Id="rId14" Type="http://schemas.openxmlformats.org/officeDocument/2006/relationships/image" Target="../media/image113.emf"/></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2.xml"/></Relationships>
</file>

<file path=ppt/slides/_rels/slide2.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2.xml"/><Relationship Id="rId1" Type="http://schemas.openxmlformats.org/officeDocument/2006/relationships/slideLayout" Target="../slideLayouts/slideLayout80.xml"/></Relationships>
</file>

<file path=ppt/slides/_rels/slide3.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3.xml"/><Relationship Id="rId1" Type="http://schemas.openxmlformats.org/officeDocument/2006/relationships/slideLayout" Target="../slideLayouts/slideLayout84.xml"/></Relationships>
</file>

<file path=ppt/slides/_rels/slide4.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image" Target="../media/image67.emf"/><Relationship Id="rId7" Type="http://schemas.openxmlformats.org/officeDocument/2006/relationships/diagramLayout" Target="../diagrams/layout1.xml"/><Relationship Id="rId2" Type="http://schemas.openxmlformats.org/officeDocument/2006/relationships/notesSlide" Target="../notesSlides/notesSlide4.xml"/><Relationship Id="rId1" Type="http://schemas.openxmlformats.org/officeDocument/2006/relationships/slideLayout" Target="../slideLayouts/slideLayout84.xml"/><Relationship Id="rId6" Type="http://schemas.openxmlformats.org/officeDocument/2006/relationships/diagramData" Target="../diagrams/data1.xml"/><Relationship Id="rId5" Type="http://schemas.openxmlformats.org/officeDocument/2006/relationships/image" Target="../media/image69.png"/><Relationship Id="rId10" Type="http://schemas.microsoft.com/office/2007/relationships/diagramDrawing" Target="../diagrams/drawing1.xml"/><Relationship Id="rId4" Type="http://schemas.openxmlformats.org/officeDocument/2006/relationships/image" Target="../media/image68.png"/><Relationship Id="rId9" Type="http://schemas.openxmlformats.org/officeDocument/2006/relationships/diagramColors" Target="../diagrams/colors1.xml"/></Relationships>
</file>

<file path=ppt/slides/_rels/slide5.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86.png"/><Relationship Id="rId3" Type="http://schemas.openxmlformats.org/officeDocument/2006/relationships/image" Target="../media/image76.png"/><Relationship Id="rId7" Type="http://schemas.openxmlformats.org/officeDocument/2006/relationships/image" Target="../media/image80.emf"/><Relationship Id="rId12" Type="http://schemas.openxmlformats.org/officeDocument/2006/relationships/image" Target="../media/image85.png"/><Relationship Id="rId2" Type="http://schemas.openxmlformats.org/officeDocument/2006/relationships/notesSlide" Target="../notesSlides/notesSlide5.xml"/><Relationship Id="rId1" Type="http://schemas.openxmlformats.org/officeDocument/2006/relationships/slideLayout" Target="../slideLayouts/slideLayout84.xml"/><Relationship Id="rId6" Type="http://schemas.openxmlformats.org/officeDocument/2006/relationships/image" Target="../media/image79.emf"/><Relationship Id="rId11" Type="http://schemas.openxmlformats.org/officeDocument/2006/relationships/image" Target="../media/image84.png"/><Relationship Id="rId5" Type="http://schemas.openxmlformats.org/officeDocument/2006/relationships/image" Target="../media/image78.png"/><Relationship Id="rId15" Type="http://schemas.openxmlformats.org/officeDocument/2006/relationships/image" Target="../media/image88.jpeg"/><Relationship Id="rId10" Type="http://schemas.openxmlformats.org/officeDocument/2006/relationships/image" Target="../media/image83.svg"/><Relationship Id="rId4" Type="http://schemas.openxmlformats.org/officeDocument/2006/relationships/image" Target="../media/image77.png"/><Relationship Id="rId9" Type="http://schemas.openxmlformats.org/officeDocument/2006/relationships/image" Target="../media/image82.png"/><Relationship Id="rId14" Type="http://schemas.openxmlformats.org/officeDocument/2006/relationships/image" Target="../media/image87.png"/></Relationships>
</file>

<file path=ppt/slides/_rels/slide6.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6.xml"/><Relationship Id="rId1" Type="http://schemas.openxmlformats.org/officeDocument/2006/relationships/slideLayout" Target="../slideLayouts/slideLayout8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2.xml"/></Relationships>
</file>

<file path=ppt/slides/_rels/slide8.xml.rels><?xml version="1.0" encoding="UTF-8" standalone="yes"?>
<Relationships xmlns="http://schemas.openxmlformats.org/package/2006/relationships"><Relationship Id="rId8" Type="http://schemas.openxmlformats.org/officeDocument/2006/relationships/image" Target="../media/image94.svg"/><Relationship Id="rId3" Type="http://schemas.openxmlformats.org/officeDocument/2006/relationships/image" Target="../media/image89.png"/><Relationship Id="rId7" Type="http://schemas.openxmlformats.org/officeDocument/2006/relationships/image" Target="../media/image93.png"/><Relationship Id="rId12" Type="http://schemas.openxmlformats.org/officeDocument/2006/relationships/image" Target="../media/image98.svg"/><Relationship Id="rId2" Type="http://schemas.openxmlformats.org/officeDocument/2006/relationships/notesSlide" Target="../notesSlides/notesSlide8.xml"/><Relationship Id="rId1" Type="http://schemas.openxmlformats.org/officeDocument/2006/relationships/slideLayout" Target="../slideLayouts/slideLayout82.xml"/><Relationship Id="rId6" Type="http://schemas.openxmlformats.org/officeDocument/2006/relationships/image" Target="../media/image92.svg"/><Relationship Id="rId11" Type="http://schemas.openxmlformats.org/officeDocument/2006/relationships/image" Target="../media/image97.png"/><Relationship Id="rId5" Type="http://schemas.openxmlformats.org/officeDocument/2006/relationships/image" Target="../media/image91.png"/><Relationship Id="rId10" Type="http://schemas.openxmlformats.org/officeDocument/2006/relationships/image" Target="../media/image96.svg"/><Relationship Id="rId4" Type="http://schemas.openxmlformats.org/officeDocument/2006/relationships/image" Target="../media/image90.svg"/><Relationship Id="rId9" Type="http://schemas.openxmlformats.org/officeDocument/2006/relationships/image" Target="../media/image95.png"/></Relationships>
</file>

<file path=ppt/slides/_rels/slide9.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3" Type="http://schemas.openxmlformats.org/officeDocument/2006/relationships/image" Target="../media/image99.png"/><Relationship Id="rId7" Type="http://schemas.openxmlformats.org/officeDocument/2006/relationships/image" Target="../media/image102.png"/><Relationship Id="rId12" Type="http://schemas.openxmlformats.org/officeDocument/2006/relationships/image" Target="../media/image105.png"/><Relationship Id="rId2" Type="http://schemas.openxmlformats.org/officeDocument/2006/relationships/notesSlide" Target="../notesSlides/notesSlide9.xml"/><Relationship Id="rId1" Type="http://schemas.openxmlformats.org/officeDocument/2006/relationships/slideLayout" Target="../slideLayouts/slideLayout82.xml"/><Relationship Id="rId6" Type="http://schemas.microsoft.com/office/2007/relationships/hdphoto" Target="../media/hdphoto2.wdp"/><Relationship Id="rId11" Type="http://schemas.microsoft.com/office/2007/relationships/hdphoto" Target="../media/hdphoto4.wdp"/><Relationship Id="rId5" Type="http://schemas.openxmlformats.org/officeDocument/2006/relationships/image" Target="../media/image101.png"/><Relationship Id="rId10" Type="http://schemas.openxmlformats.org/officeDocument/2006/relationships/image" Target="../media/image104.png"/><Relationship Id="rId4" Type="http://schemas.openxmlformats.org/officeDocument/2006/relationships/image" Target="../media/image100.svg"/><Relationship Id="rId9" Type="http://schemas.openxmlformats.org/officeDocument/2006/relationships/image" Target="../media/image10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0C815EA-13A9-114A-8DD9-7CB30FB41C3D}"/>
              </a:ext>
            </a:extLst>
          </p:cNvPr>
          <p:cNvSpPr>
            <a:spLocks noGrp="1"/>
          </p:cNvSpPr>
          <p:nvPr>
            <p:ph type="title"/>
          </p:nvPr>
        </p:nvSpPr>
        <p:spPr/>
        <p:txBody>
          <a:bodyPr/>
          <a:lstStyle/>
          <a:p>
            <a:r>
              <a:rPr lang="en-US" sz="5500" dirty="0">
                <a:latin typeface="Segoe UI Semibold"/>
                <a:cs typeface="Segoe UI Semibold"/>
              </a:rPr>
              <a:t>Data &amp; AI </a:t>
            </a:r>
            <a:br>
              <a:rPr lang="en-US" sz="5500" dirty="0">
                <a:latin typeface="Segoe UI Semibold"/>
                <a:cs typeface="Segoe UI Semibold"/>
              </a:rPr>
            </a:br>
            <a:r>
              <a:rPr lang="en-US" sz="5500" dirty="0">
                <a:latin typeface="Segoe UI Semibold"/>
                <a:cs typeface="Segoe UI Semibold"/>
              </a:rPr>
              <a:t>Hackathon </a:t>
            </a:r>
          </a:p>
        </p:txBody>
      </p:sp>
      <p:pic>
        <p:nvPicPr>
          <p:cNvPr id="5" name="Picture Placeholder 6">
            <a:extLst>
              <a:ext uri="{FF2B5EF4-FFF2-40B4-BE49-F238E27FC236}">
                <a16:creationId xmlns:a16="http://schemas.microsoft.com/office/drawing/2014/main" id="{27F4051C-BB14-2340-B120-93DC0EF2579A}"/>
              </a:ext>
            </a:extLst>
          </p:cNvPr>
          <p:cNvPicPr>
            <a:picLocks noGrp="1" noChangeAspect="1"/>
          </p:cNvPicPr>
          <p:nvPr>
            <p:ph type="pic" sz="quarter" idx="4294967295"/>
          </p:nvPr>
        </p:nvPicPr>
        <p:blipFill rotWithShape="1">
          <a:blip r:embed="rId3" cstate="print">
            <a:extLst>
              <a:ext uri="{28A0092B-C50C-407E-A947-70E740481C1C}">
                <a14:useLocalDpi xmlns:a14="http://schemas.microsoft.com/office/drawing/2010/main" val="0"/>
              </a:ext>
            </a:extLst>
          </a:blip>
          <a:srcRect l="-77" t="2632" r="18102" b="2632"/>
          <a:stretch/>
        </p:blipFill>
        <p:spPr>
          <a:xfrm>
            <a:off x="4224338" y="0"/>
            <a:ext cx="7967662" cy="6858000"/>
          </a:xfrm>
        </p:spPr>
      </p:pic>
    </p:spTree>
    <p:extLst>
      <p:ext uri="{BB962C8B-B14F-4D97-AF65-F5344CB8AC3E}">
        <p14:creationId xmlns:p14="http://schemas.microsoft.com/office/powerpoint/2010/main" val="158689131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4" name="Group 83">
            <a:extLst>
              <a:ext uri="{FF2B5EF4-FFF2-40B4-BE49-F238E27FC236}">
                <a16:creationId xmlns:a16="http://schemas.microsoft.com/office/drawing/2014/main" id="{FC6E4137-8048-4D13-B102-7D44A7D583CC}"/>
              </a:ext>
            </a:extLst>
          </p:cNvPr>
          <p:cNvGrpSpPr/>
          <p:nvPr/>
        </p:nvGrpSpPr>
        <p:grpSpPr>
          <a:xfrm>
            <a:off x="1118743" y="2729303"/>
            <a:ext cx="698688" cy="888860"/>
            <a:chOff x="-215496" y="5191493"/>
            <a:chExt cx="919887" cy="1170268"/>
          </a:xfrm>
        </p:grpSpPr>
        <p:sp>
          <p:nvSpPr>
            <p:cNvPr id="85" name="Freeform: Shape 84">
              <a:extLst>
                <a:ext uri="{FF2B5EF4-FFF2-40B4-BE49-F238E27FC236}">
                  <a16:creationId xmlns:a16="http://schemas.microsoft.com/office/drawing/2014/main" id="{2F134F02-AF9B-4C66-A6A6-633C32D865AA}"/>
                </a:ext>
              </a:extLst>
            </p:cNvPr>
            <p:cNvSpPr/>
            <p:nvPr/>
          </p:nvSpPr>
          <p:spPr bwMode="auto">
            <a:xfrm>
              <a:off x="-215496" y="5191493"/>
              <a:ext cx="919887" cy="1170268"/>
            </a:xfrm>
            <a:custGeom>
              <a:avLst/>
              <a:gdLst>
                <a:gd name="connsiteX0" fmla="*/ 0 w 612476"/>
                <a:gd name="connsiteY0" fmla="*/ 0 h 779184"/>
                <a:gd name="connsiteX1" fmla="*/ 445383 w 612476"/>
                <a:gd name="connsiteY1" fmla="*/ 0 h 779184"/>
                <a:gd name="connsiteX2" fmla="*/ 612476 w 612476"/>
                <a:gd name="connsiteY2" fmla="*/ 155037 h 779184"/>
                <a:gd name="connsiteX3" fmla="*/ 612476 w 612476"/>
                <a:gd name="connsiteY3" fmla="*/ 779184 h 779184"/>
                <a:gd name="connsiteX4" fmla="*/ 0 w 612476"/>
                <a:gd name="connsiteY4" fmla="*/ 779184 h 779184"/>
                <a:gd name="connsiteX5" fmla="*/ 0 w 612476"/>
                <a:gd name="connsiteY5" fmla="*/ 0 h 779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2476" h="779184">
                  <a:moveTo>
                    <a:pt x="0" y="0"/>
                  </a:moveTo>
                  <a:lnTo>
                    <a:pt x="445383" y="0"/>
                  </a:lnTo>
                  <a:lnTo>
                    <a:pt x="612476" y="155037"/>
                  </a:lnTo>
                  <a:lnTo>
                    <a:pt x="612476" y="779184"/>
                  </a:lnTo>
                  <a:lnTo>
                    <a:pt x="0" y="779184"/>
                  </a:lnTo>
                  <a:lnTo>
                    <a:pt x="0" y="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6" name="Group 85">
              <a:extLst>
                <a:ext uri="{FF2B5EF4-FFF2-40B4-BE49-F238E27FC236}">
                  <a16:creationId xmlns:a16="http://schemas.microsoft.com/office/drawing/2014/main" id="{042F1AFD-6AE0-4C6B-AD25-D63830729890}"/>
                </a:ext>
              </a:extLst>
            </p:cNvPr>
            <p:cNvGrpSpPr/>
            <p:nvPr/>
          </p:nvGrpSpPr>
          <p:grpSpPr>
            <a:xfrm>
              <a:off x="-94710" y="5337408"/>
              <a:ext cx="656818" cy="886215"/>
              <a:chOff x="6494463" y="1649919"/>
              <a:chExt cx="247650" cy="351415"/>
            </a:xfrm>
          </p:grpSpPr>
          <p:sp>
            <p:nvSpPr>
              <p:cNvPr id="88" name="Rectangle 139">
                <a:extLst>
                  <a:ext uri="{FF2B5EF4-FFF2-40B4-BE49-F238E27FC236}">
                    <a16:creationId xmlns:a16="http://schemas.microsoft.com/office/drawing/2014/main" id="{BF25AC3B-FACE-4247-9D58-B8C55A63AB56}"/>
                  </a:ext>
                </a:extLst>
              </p:cNvPr>
              <p:cNvSpPr>
                <a:spLocks noChangeArrowheads="1"/>
              </p:cNvSpPr>
              <p:nvPr/>
            </p:nvSpPr>
            <p:spPr bwMode="auto">
              <a:xfrm>
                <a:off x="6494463" y="1649919"/>
                <a:ext cx="176286" cy="4185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9" name="Rectangle 140">
                <a:extLst>
                  <a:ext uri="{FF2B5EF4-FFF2-40B4-BE49-F238E27FC236}">
                    <a16:creationId xmlns:a16="http://schemas.microsoft.com/office/drawing/2014/main" id="{F45D7962-D792-4B04-AB20-D0B0F266E869}"/>
                  </a:ext>
                </a:extLst>
              </p:cNvPr>
              <p:cNvSpPr>
                <a:spLocks noChangeArrowheads="1"/>
              </p:cNvSpPr>
              <p:nvPr/>
            </p:nvSpPr>
            <p:spPr bwMode="auto">
              <a:xfrm>
                <a:off x="6494463" y="1727706"/>
                <a:ext cx="247650" cy="4185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0" name="Rectangle 141">
                <a:extLst>
                  <a:ext uri="{FF2B5EF4-FFF2-40B4-BE49-F238E27FC236}">
                    <a16:creationId xmlns:a16="http://schemas.microsoft.com/office/drawing/2014/main" id="{A0CD7DB2-45A6-46C4-BD60-744F7D1C8083}"/>
                  </a:ext>
                </a:extLst>
              </p:cNvPr>
              <p:cNvSpPr>
                <a:spLocks noChangeArrowheads="1"/>
              </p:cNvSpPr>
              <p:nvPr/>
            </p:nvSpPr>
            <p:spPr bwMode="auto">
              <a:xfrm>
                <a:off x="6494463" y="1803978"/>
                <a:ext cx="247650" cy="4329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1" name="Rectangle 142">
                <a:extLst>
                  <a:ext uri="{FF2B5EF4-FFF2-40B4-BE49-F238E27FC236}">
                    <a16:creationId xmlns:a16="http://schemas.microsoft.com/office/drawing/2014/main" id="{E3DC5DC4-1C5C-43F6-8F04-583C7C2AAFC5}"/>
                  </a:ext>
                </a:extLst>
              </p:cNvPr>
              <p:cNvSpPr>
                <a:spLocks noChangeArrowheads="1"/>
              </p:cNvSpPr>
              <p:nvPr/>
            </p:nvSpPr>
            <p:spPr bwMode="auto">
              <a:xfrm>
                <a:off x="6494463" y="1881694"/>
                <a:ext cx="247650" cy="4185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2" name="Rectangle 143">
                <a:extLst>
                  <a:ext uri="{FF2B5EF4-FFF2-40B4-BE49-F238E27FC236}">
                    <a16:creationId xmlns:a16="http://schemas.microsoft.com/office/drawing/2014/main" id="{F5179F08-BC7E-45B2-8BF8-8E138FE1990B}"/>
                  </a:ext>
                </a:extLst>
              </p:cNvPr>
              <p:cNvSpPr>
                <a:spLocks noChangeArrowheads="1"/>
              </p:cNvSpPr>
              <p:nvPr/>
            </p:nvSpPr>
            <p:spPr bwMode="auto">
              <a:xfrm>
                <a:off x="6494463" y="1959481"/>
                <a:ext cx="214765" cy="4185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87" name="Rectangle 69">
              <a:extLst>
                <a:ext uri="{FF2B5EF4-FFF2-40B4-BE49-F238E27FC236}">
                  <a16:creationId xmlns:a16="http://schemas.microsoft.com/office/drawing/2014/main" id="{968BD376-DB25-44F9-AB45-E58AE56290D6}"/>
                </a:ext>
              </a:extLst>
            </p:cNvPr>
            <p:cNvSpPr/>
            <p:nvPr/>
          </p:nvSpPr>
          <p:spPr bwMode="auto">
            <a:xfrm>
              <a:off x="456901" y="5191494"/>
              <a:ext cx="247482" cy="234892"/>
            </a:xfrm>
            <a:custGeom>
              <a:avLst/>
              <a:gdLst>
                <a:gd name="connsiteX0" fmla="*/ 0 w 167094"/>
                <a:gd name="connsiteY0" fmla="*/ 0 h 155038"/>
                <a:gd name="connsiteX1" fmla="*/ 167094 w 167094"/>
                <a:gd name="connsiteY1" fmla="*/ 0 h 155038"/>
                <a:gd name="connsiteX2" fmla="*/ 167094 w 167094"/>
                <a:gd name="connsiteY2" fmla="*/ 155038 h 155038"/>
                <a:gd name="connsiteX3" fmla="*/ 0 w 167094"/>
                <a:gd name="connsiteY3" fmla="*/ 155038 h 155038"/>
                <a:gd name="connsiteX4" fmla="*/ 0 w 167094"/>
                <a:gd name="connsiteY4" fmla="*/ 0 h 155038"/>
                <a:gd name="connsiteX0" fmla="*/ 0 w 167094"/>
                <a:gd name="connsiteY0" fmla="*/ 0 h 155038"/>
                <a:gd name="connsiteX1" fmla="*/ 167094 w 167094"/>
                <a:gd name="connsiteY1" fmla="*/ 155038 h 155038"/>
                <a:gd name="connsiteX2" fmla="*/ 0 w 167094"/>
                <a:gd name="connsiteY2" fmla="*/ 155038 h 155038"/>
                <a:gd name="connsiteX3" fmla="*/ 0 w 167094"/>
                <a:gd name="connsiteY3" fmla="*/ 0 h 155038"/>
              </a:gdLst>
              <a:ahLst/>
              <a:cxnLst>
                <a:cxn ang="0">
                  <a:pos x="connsiteX0" y="connsiteY0"/>
                </a:cxn>
                <a:cxn ang="0">
                  <a:pos x="connsiteX1" y="connsiteY1"/>
                </a:cxn>
                <a:cxn ang="0">
                  <a:pos x="connsiteX2" y="connsiteY2"/>
                </a:cxn>
                <a:cxn ang="0">
                  <a:pos x="connsiteX3" y="connsiteY3"/>
                </a:cxn>
              </a:cxnLst>
              <a:rect l="l" t="t" r="r" b="b"/>
              <a:pathLst>
                <a:path w="167094" h="155038">
                  <a:moveTo>
                    <a:pt x="0" y="0"/>
                  </a:moveTo>
                  <a:lnTo>
                    <a:pt x="167094" y="155038"/>
                  </a:lnTo>
                  <a:lnTo>
                    <a:pt x="0" y="155038"/>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useBgFill="1">
        <p:nvSpPr>
          <p:cNvPr id="8" name="Hexagon 7">
            <a:extLst>
              <a:ext uri="{FF2B5EF4-FFF2-40B4-BE49-F238E27FC236}">
                <a16:creationId xmlns:a16="http://schemas.microsoft.com/office/drawing/2014/main" id="{5B25E665-041C-4E51-B178-6AFC5962BD35}"/>
              </a:ext>
            </a:extLst>
          </p:cNvPr>
          <p:cNvSpPr/>
          <p:nvPr/>
        </p:nvSpPr>
        <p:spPr bwMode="auto">
          <a:xfrm>
            <a:off x="3318288" y="2634272"/>
            <a:ext cx="1162226" cy="1164959"/>
          </a:xfrm>
          <a:prstGeom prst="hexagon">
            <a:avLst>
              <a:gd name="adj" fmla="val 16448"/>
              <a:gd name="vf" fmla="val 115470"/>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Box 2">
            <a:extLst>
              <a:ext uri="{FF2B5EF4-FFF2-40B4-BE49-F238E27FC236}">
                <a16:creationId xmlns:a16="http://schemas.microsoft.com/office/drawing/2014/main" id="{33544D79-3429-444F-BEB6-D2F25D92BB1C}"/>
              </a:ext>
            </a:extLst>
          </p:cNvPr>
          <p:cNvSpPr txBox="1"/>
          <p:nvPr/>
        </p:nvSpPr>
        <p:spPr>
          <a:xfrm>
            <a:off x="657932" y="1899340"/>
            <a:ext cx="1664192" cy="276999"/>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200" b="0" i="0" u="none" strike="noStrike" kern="0" cap="none" spc="0" normalizeH="0" baseline="0">
                <a:ln>
                  <a:noFill/>
                </a:ln>
                <a:solidFill>
                  <a:prstClr val="white"/>
                </a:solidFill>
                <a:effectLst/>
                <a:uLnTx/>
                <a:uFillTx/>
                <a:latin typeface="Segoe UI Semibold"/>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a:ea typeface="+mn-ea"/>
                <a:cs typeface="Segoe UI Semibold" panose="020B0702040204020203" pitchFamily="34" charset="0"/>
              </a:rPr>
              <a:t>Client reports</a:t>
            </a:r>
          </a:p>
        </p:txBody>
      </p:sp>
      <p:sp>
        <p:nvSpPr>
          <p:cNvPr id="9" name="TextBox 8">
            <a:extLst>
              <a:ext uri="{FF2B5EF4-FFF2-40B4-BE49-F238E27FC236}">
                <a16:creationId xmlns:a16="http://schemas.microsoft.com/office/drawing/2014/main" id="{27DCA1E2-AD16-45F6-88A7-9421874B6D98}"/>
              </a:ext>
            </a:extLst>
          </p:cNvPr>
          <p:cNvSpPr txBox="1"/>
          <p:nvPr/>
        </p:nvSpPr>
        <p:spPr>
          <a:xfrm>
            <a:off x="5660308" y="4981439"/>
            <a:ext cx="1228852" cy="276999"/>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200" b="0" i="0" u="none" strike="noStrike" kern="0" cap="none" spc="0" normalizeH="0" baseline="0">
                <a:ln>
                  <a:noFill/>
                </a:ln>
                <a:solidFill>
                  <a:prstClr val="white"/>
                </a:solidFill>
                <a:effectLst/>
                <a:uLnTx/>
                <a:uFillTx/>
                <a:latin typeface="Segoe UI Semibold"/>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Semibold"/>
                <a:ea typeface="+mn-ea"/>
                <a:cs typeface="Segoe UI Semibold" panose="020B0702040204020203" pitchFamily="34" charset="0"/>
              </a:rPr>
              <a:t>Feedback Loop</a:t>
            </a:r>
          </a:p>
        </p:txBody>
      </p:sp>
      <p:sp>
        <p:nvSpPr>
          <p:cNvPr id="11" name="TextBox 10">
            <a:extLst>
              <a:ext uri="{FF2B5EF4-FFF2-40B4-BE49-F238E27FC236}">
                <a16:creationId xmlns:a16="http://schemas.microsoft.com/office/drawing/2014/main" id="{EA5E444B-BCA7-4862-A040-F8B7C7B95264}"/>
              </a:ext>
            </a:extLst>
          </p:cNvPr>
          <p:cNvSpPr txBox="1"/>
          <p:nvPr/>
        </p:nvSpPr>
        <p:spPr>
          <a:xfrm>
            <a:off x="9848593" y="1899340"/>
            <a:ext cx="1621680" cy="276999"/>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200" b="0" i="0" u="none" strike="noStrike" kern="0" cap="none" spc="0" normalizeH="0" baseline="0">
                <a:ln>
                  <a:noFill/>
                </a:ln>
                <a:solidFill>
                  <a:prstClr val="white"/>
                </a:solidFill>
                <a:effectLst/>
                <a:uLnTx/>
                <a:uFillTx/>
                <a:latin typeface="Segoe UI Semibold"/>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Semibold"/>
                <a:ea typeface="+mn-ea"/>
                <a:cs typeface="Segoe UI Semibold" panose="020B0702040204020203" pitchFamily="34" charset="0"/>
              </a:rPr>
              <a:t>Analytics dashboard</a:t>
            </a:r>
          </a:p>
        </p:txBody>
      </p:sp>
      <p:sp>
        <p:nvSpPr>
          <p:cNvPr id="12" name="TextBox 11">
            <a:extLst>
              <a:ext uri="{FF2B5EF4-FFF2-40B4-BE49-F238E27FC236}">
                <a16:creationId xmlns:a16="http://schemas.microsoft.com/office/drawing/2014/main" id="{0B8BED92-3608-4A4E-91BD-0E5AE2810379}"/>
              </a:ext>
            </a:extLst>
          </p:cNvPr>
          <p:cNvSpPr txBox="1"/>
          <p:nvPr/>
        </p:nvSpPr>
        <p:spPr>
          <a:xfrm>
            <a:off x="5488813" y="1899340"/>
            <a:ext cx="1571842" cy="276999"/>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200" b="0" i="0" u="none" strike="noStrike" kern="0" cap="none" spc="0" normalizeH="0" baseline="0">
                <a:ln>
                  <a:noFill/>
                </a:ln>
                <a:solidFill>
                  <a:prstClr val="white"/>
                </a:solidFill>
                <a:effectLst/>
                <a:uLnTx/>
                <a:uFillTx/>
                <a:latin typeface="Segoe UI Semibold"/>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Semibold"/>
                <a:ea typeface="+mn-ea"/>
                <a:cs typeface="Segoe UI Semibold" panose="020B0702040204020203" pitchFamily="34" charset="0"/>
              </a:rPr>
              <a:t>Form Recognizer</a:t>
            </a:r>
          </a:p>
        </p:txBody>
      </p:sp>
      <p:grpSp>
        <p:nvGrpSpPr>
          <p:cNvPr id="54" name="Group 53">
            <a:extLst>
              <a:ext uri="{FF2B5EF4-FFF2-40B4-BE49-F238E27FC236}">
                <a16:creationId xmlns:a16="http://schemas.microsoft.com/office/drawing/2014/main" id="{AABB1CC9-6CDB-45F4-9CB9-C77F71276DED}"/>
              </a:ext>
            </a:extLst>
          </p:cNvPr>
          <p:cNvGrpSpPr/>
          <p:nvPr/>
        </p:nvGrpSpPr>
        <p:grpSpPr>
          <a:xfrm>
            <a:off x="958879" y="2578786"/>
            <a:ext cx="803959" cy="1022784"/>
            <a:chOff x="1248571" y="3304468"/>
            <a:chExt cx="605889" cy="770804"/>
          </a:xfrm>
        </p:grpSpPr>
        <p:sp>
          <p:nvSpPr>
            <p:cNvPr id="55" name="Rectangle 54">
              <a:extLst>
                <a:ext uri="{FF2B5EF4-FFF2-40B4-BE49-F238E27FC236}">
                  <a16:creationId xmlns:a16="http://schemas.microsoft.com/office/drawing/2014/main" id="{F8D7634F-3E46-41EE-B577-7C1E10DFB223}"/>
                </a:ext>
              </a:extLst>
            </p:cNvPr>
            <p:cNvSpPr/>
            <p:nvPr/>
          </p:nvSpPr>
          <p:spPr bwMode="auto">
            <a:xfrm>
              <a:off x="1248571" y="3304468"/>
              <a:ext cx="605889" cy="770804"/>
            </a:xfrm>
            <a:prstGeom prst="rect">
              <a:avLst/>
            </a:prstGeom>
            <a:solidFill>
              <a:schemeClr val="tx1"/>
            </a:solidFill>
            <a:ln w="381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6" name="Group 55">
              <a:extLst>
                <a:ext uri="{FF2B5EF4-FFF2-40B4-BE49-F238E27FC236}">
                  <a16:creationId xmlns:a16="http://schemas.microsoft.com/office/drawing/2014/main" id="{A8B2FD52-7AAC-49F2-A2B8-2594BD6A8735}"/>
                </a:ext>
              </a:extLst>
            </p:cNvPr>
            <p:cNvGrpSpPr/>
            <p:nvPr/>
          </p:nvGrpSpPr>
          <p:grpSpPr>
            <a:xfrm>
              <a:off x="1332208" y="3396135"/>
              <a:ext cx="432617" cy="590662"/>
              <a:chOff x="6494463" y="1647826"/>
              <a:chExt cx="247650" cy="355600"/>
            </a:xfrm>
          </p:grpSpPr>
          <p:sp>
            <p:nvSpPr>
              <p:cNvPr id="57" name="Rectangle 139">
                <a:extLst>
                  <a:ext uri="{FF2B5EF4-FFF2-40B4-BE49-F238E27FC236}">
                    <a16:creationId xmlns:a16="http://schemas.microsoft.com/office/drawing/2014/main" id="{C95C6EAC-40A1-4F6A-AB75-EBA8DBDB443E}"/>
                  </a:ext>
                </a:extLst>
              </p:cNvPr>
              <p:cNvSpPr>
                <a:spLocks noChangeArrowheads="1"/>
              </p:cNvSpPr>
              <p:nvPr/>
            </p:nvSpPr>
            <p:spPr bwMode="auto">
              <a:xfrm>
                <a:off x="6494463" y="1647826"/>
                <a:ext cx="247650"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8" name="Rectangle 140">
                <a:extLst>
                  <a:ext uri="{FF2B5EF4-FFF2-40B4-BE49-F238E27FC236}">
                    <a16:creationId xmlns:a16="http://schemas.microsoft.com/office/drawing/2014/main" id="{2337E231-B4FF-4E9A-81D8-A2305068E794}"/>
                  </a:ext>
                </a:extLst>
              </p:cNvPr>
              <p:cNvSpPr>
                <a:spLocks noChangeArrowheads="1"/>
              </p:cNvSpPr>
              <p:nvPr/>
            </p:nvSpPr>
            <p:spPr bwMode="auto">
              <a:xfrm>
                <a:off x="6494463" y="1725613"/>
                <a:ext cx="24765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9" name="Rectangle 141">
                <a:extLst>
                  <a:ext uri="{FF2B5EF4-FFF2-40B4-BE49-F238E27FC236}">
                    <a16:creationId xmlns:a16="http://schemas.microsoft.com/office/drawing/2014/main" id="{5CE6C0A1-A7E9-4A6B-8A5D-8E0828BCA2E0}"/>
                  </a:ext>
                </a:extLst>
              </p:cNvPr>
              <p:cNvSpPr>
                <a:spLocks noChangeArrowheads="1"/>
              </p:cNvSpPr>
              <p:nvPr/>
            </p:nvSpPr>
            <p:spPr bwMode="auto">
              <a:xfrm>
                <a:off x="6494463" y="1801813"/>
                <a:ext cx="247650" cy="476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0" name="Rectangle 142">
                <a:extLst>
                  <a:ext uri="{FF2B5EF4-FFF2-40B4-BE49-F238E27FC236}">
                    <a16:creationId xmlns:a16="http://schemas.microsoft.com/office/drawing/2014/main" id="{81D0FC16-AD6D-4984-A5BF-4DF17ED72E55}"/>
                  </a:ext>
                </a:extLst>
              </p:cNvPr>
              <p:cNvSpPr>
                <a:spLocks noChangeArrowheads="1"/>
              </p:cNvSpPr>
              <p:nvPr/>
            </p:nvSpPr>
            <p:spPr bwMode="auto">
              <a:xfrm>
                <a:off x="6494463" y="1879601"/>
                <a:ext cx="24765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1" name="Rectangle 143">
                <a:extLst>
                  <a:ext uri="{FF2B5EF4-FFF2-40B4-BE49-F238E27FC236}">
                    <a16:creationId xmlns:a16="http://schemas.microsoft.com/office/drawing/2014/main" id="{D7CF2F2D-60BB-499D-BB37-3313F1C327AA}"/>
                  </a:ext>
                </a:extLst>
              </p:cNvPr>
              <p:cNvSpPr>
                <a:spLocks noChangeArrowheads="1"/>
              </p:cNvSpPr>
              <p:nvPr/>
            </p:nvSpPr>
            <p:spPr bwMode="auto">
              <a:xfrm>
                <a:off x="6494463" y="1957388"/>
                <a:ext cx="13970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53" name="Group 52">
            <a:extLst>
              <a:ext uri="{FF2B5EF4-FFF2-40B4-BE49-F238E27FC236}">
                <a16:creationId xmlns:a16="http://schemas.microsoft.com/office/drawing/2014/main" id="{DF1A51B6-DE48-4633-9416-C44DA4485253}"/>
              </a:ext>
            </a:extLst>
          </p:cNvPr>
          <p:cNvGrpSpPr/>
          <p:nvPr/>
        </p:nvGrpSpPr>
        <p:grpSpPr>
          <a:xfrm>
            <a:off x="1079196" y="2697831"/>
            <a:ext cx="803959" cy="1022784"/>
            <a:chOff x="1248571" y="3304468"/>
            <a:chExt cx="605889" cy="770804"/>
          </a:xfrm>
        </p:grpSpPr>
        <p:sp>
          <p:nvSpPr>
            <p:cNvPr id="27" name="Rectangle 26">
              <a:extLst>
                <a:ext uri="{FF2B5EF4-FFF2-40B4-BE49-F238E27FC236}">
                  <a16:creationId xmlns:a16="http://schemas.microsoft.com/office/drawing/2014/main" id="{D660E470-7488-48D8-A55E-A8010CBAD6AE}"/>
                </a:ext>
              </a:extLst>
            </p:cNvPr>
            <p:cNvSpPr/>
            <p:nvPr/>
          </p:nvSpPr>
          <p:spPr bwMode="auto">
            <a:xfrm>
              <a:off x="1248571" y="3304468"/>
              <a:ext cx="605889" cy="770804"/>
            </a:xfrm>
            <a:prstGeom prst="rect">
              <a:avLst/>
            </a:prstGeom>
            <a:solidFill>
              <a:schemeClr val="tx1"/>
            </a:solidFill>
            <a:ln w="381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6" name="Group 45">
              <a:extLst>
                <a:ext uri="{FF2B5EF4-FFF2-40B4-BE49-F238E27FC236}">
                  <a16:creationId xmlns:a16="http://schemas.microsoft.com/office/drawing/2014/main" id="{2741C252-F594-4AE8-8CDC-37C687A72B76}"/>
                </a:ext>
              </a:extLst>
            </p:cNvPr>
            <p:cNvGrpSpPr/>
            <p:nvPr/>
          </p:nvGrpSpPr>
          <p:grpSpPr>
            <a:xfrm>
              <a:off x="1332208" y="3396135"/>
              <a:ext cx="432617" cy="590662"/>
              <a:chOff x="6494463" y="1647826"/>
              <a:chExt cx="247650" cy="355600"/>
            </a:xfrm>
          </p:grpSpPr>
          <p:sp>
            <p:nvSpPr>
              <p:cNvPr id="48" name="Rectangle 139">
                <a:extLst>
                  <a:ext uri="{FF2B5EF4-FFF2-40B4-BE49-F238E27FC236}">
                    <a16:creationId xmlns:a16="http://schemas.microsoft.com/office/drawing/2014/main" id="{BBCC8606-5AD0-4EC5-9592-C88040F2FDE2}"/>
                  </a:ext>
                </a:extLst>
              </p:cNvPr>
              <p:cNvSpPr>
                <a:spLocks noChangeArrowheads="1"/>
              </p:cNvSpPr>
              <p:nvPr/>
            </p:nvSpPr>
            <p:spPr bwMode="auto">
              <a:xfrm>
                <a:off x="6494463" y="1647826"/>
                <a:ext cx="247650"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9" name="Rectangle 140">
                <a:extLst>
                  <a:ext uri="{FF2B5EF4-FFF2-40B4-BE49-F238E27FC236}">
                    <a16:creationId xmlns:a16="http://schemas.microsoft.com/office/drawing/2014/main" id="{53330B64-7E1D-465E-B591-82E35C0C9E50}"/>
                  </a:ext>
                </a:extLst>
              </p:cNvPr>
              <p:cNvSpPr>
                <a:spLocks noChangeArrowheads="1"/>
              </p:cNvSpPr>
              <p:nvPr/>
            </p:nvSpPr>
            <p:spPr bwMode="auto">
              <a:xfrm>
                <a:off x="6494463" y="1725613"/>
                <a:ext cx="24765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0" name="Rectangle 141">
                <a:extLst>
                  <a:ext uri="{FF2B5EF4-FFF2-40B4-BE49-F238E27FC236}">
                    <a16:creationId xmlns:a16="http://schemas.microsoft.com/office/drawing/2014/main" id="{86622455-95C1-4B4D-88D7-B2D3786D9642}"/>
                  </a:ext>
                </a:extLst>
              </p:cNvPr>
              <p:cNvSpPr>
                <a:spLocks noChangeArrowheads="1"/>
              </p:cNvSpPr>
              <p:nvPr/>
            </p:nvSpPr>
            <p:spPr bwMode="auto">
              <a:xfrm>
                <a:off x="6494463" y="1801813"/>
                <a:ext cx="247650" cy="476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1" name="Rectangle 142">
                <a:extLst>
                  <a:ext uri="{FF2B5EF4-FFF2-40B4-BE49-F238E27FC236}">
                    <a16:creationId xmlns:a16="http://schemas.microsoft.com/office/drawing/2014/main" id="{C47B8E2C-05F0-4949-BE87-1FCF34C1FF94}"/>
                  </a:ext>
                </a:extLst>
              </p:cNvPr>
              <p:cNvSpPr>
                <a:spLocks noChangeArrowheads="1"/>
              </p:cNvSpPr>
              <p:nvPr/>
            </p:nvSpPr>
            <p:spPr bwMode="auto">
              <a:xfrm>
                <a:off x="6494463" y="1879601"/>
                <a:ext cx="24765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2" name="Rectangle 143">
                <a:extLst>
                  <a:ext uri="{FF2B5EF4-FFF2-40B4-BE49-F238E27FC236}">
                    <a16:creationId xmlns:a16="http://schemas.microsoft.com/office/drawing/2014/main" id="{E616B972-B716-4625-A3EB-1CF8740A86DC}"/>
                  </a:ext>
                </a:extLst>
              </p:cNvPr>
              <p:cNvSpPr>
                <a:spLocks noChangeArrowheads="1"/>
              </p:cNvSpPr>
              <p:nvPr/>
            </p:nvSpPr>
            <p:spPr bwMode="auto">
              <a:xfrm>
                <a:off x="6494463" y="1957388"/>
                <a:ext cx="13970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5" name="Group 4">
            <a:extLst>
              <a:ext uri="{FF2B5EF4-FFF2-40B4-BE49-F238E27FC236}">
                <a16:creationId xmlns:a16="http://schemas.microsoft.com/office/drawing/2014/main" id="{808A50B6-3526-4660-8FC5-E3F59EAD4E8B}"/>
              </a:ext>
            </a:extLst>
          </p:cNvPr>
          <p:cNvGrpSpPr/>
          <p:nvPr/>
        </p:nvGrpSpPr>
        <p:grpSpPr>
          <a:xfrm>
            <a:off x="1209279" y="2815229"/>
            <a:ext cx="803959" cy="1022784"/>
            <a:chOff x="1345789" y="3393810"/>
            <a:chExt cx="803959" cy="1022784"/>
          </a:xfrm>
        </p:grpSpPr>
        <p:sp>
          <p:nvSpPr>
            <p:cNvPr id="28" name="Freeform: Shape 27">
              <a:extLst>
                <a:ext uri="{FF2B5EF4-FFF2-40B4-BE49-F238E27FC236}">
                  <a16:creationId xmlns:a16="http://schemas.microsoft.com/office/drawing/2014/main" id="{589495DD-520E-49F0-928F-EAEAD7834CDF}"/>
                </a:ext>
              </a:extLst>
            </p:cNvPr>
            <p:cNvSpPr/>
            <p:nvPr/>
          </p:nvSpPr>
          <p:spPr bwMode="auto">
            <a:xfrm>
              <a:off x="1345789" y="3393810"/>
              <a:ext cx="803959" cy="1022784"/>
            </a:xfrm>
            <a:custGeom>
              <a:avLst/>
              <a:gdLst>
                <a:gd name="connsiteX0" fmla="*/ 0 w 612476"/>
                <a:gd name="connsiteY0" fmla="*/ 0 h 779184"/>
                <a:gd name="connsiteX1" fmla="*/ 445383 w 612476"/>
                <a:gd name="connsiteY1" fmla="*/ 0 h 779184"/>
                <a:gd name="connsiteX2" fmla="*/ 612476 w 612476"/>
                <a:gd name="connsiteY2" fmla="*/ 155037 h 779184"/>
                <a:gd name="connsiteX3" fmla="*/ 612476 w 612476"/>
                <a:gd name="connsiteY3" fmla="*/ 779184 h 779184"/>
                <a:gd name="connsiteX4" fmla="*/ 0 w 612476"/>
                <a:gd name="connsiteY4" fmla="*/ 779184 h 779184"/>
                <a:gd name="connsiteX5" fmla="*/ 0 w 612476"/>
                <a:gd name="connsiteY5" fmla="*/ 0 h 779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2476" h="779184">
                  <a:moveTo>
                    <a:pt x="0" y="0"/>
                  </a:moveTo>
                  <a:lnTo>
                    <a:pt x="445383" y="0"/>
                  </a:lnTo>
                  <a:lnTo>
                    <a:pt x="612476" y="155037"/>
                  </a:lnTo>
                  <a:lnTo>
                    <a:pt x="612476" y="779184"/>
                  </a:lnTo>
                  <a:lnTo>
                    <a:pt x="0" y="779184"/>
                  </a:lnTo>
                  <a:lnTo>
                    <a:pt x="0" y="0"/>
                  </a:lnTo>
                  <a:close/>
                </a:path>
              </a:pathLst>
            </a:custGeom>
            <a:solidFill>
              <a:schemeClr val="tx1"/>
            </a:solidFill>
            <a:ln w="381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Rectangle 69">
              <a:extLst>
                <a:ext uri="{FF2B5EF4-FFF2-40B4-BE49-F238E27FC236}">
                  <a16:creationId xmlns:a16="http://schemas.microsoft.com/office/drawing/2014/main" id="{F2BCD31E-8893-4893-9969-F84F1871E0C9}"/>
                </a:ext>
              </a:extLst>
            </p:cNvPr>
            <p:cNvSpPr/>
            <p:nvPr/>
          </p:nvSpPr>
          <p:spPr bwMode="auto">
            <a:xfrm>
              <a:off x="1924787" y="3410327"/>
              <a:ext cx="208830" cy="193761"/>
            </a:xfrm>
            <a:custGeom>
              <a:avLst/>
              <a:gdLst>
                <a:gd name="connsiteX0" fmla="*/ 0 w 167094"/>
                <a:gd name="connsiteY0" fmla="*/ 0 h 155038"/>
                <a:gd name="connsiteX1" fmla="*/ 167094 w 167094"/>
                <a:gd name="connsiteY1" fmla="*/ 0 h 155038"/>
                <a:gd name="connsiteX2" fmla="*/ 167094 w 167094"/>
                <a:gd name="connsiteY2" fmla="*/ 155038 h 155038"/>
                <a:gd name="connsiteX3" fmla="*/ 0 w 167094"/>
                <a:gd name="connsiteY3" fmla="*/ 155038 h 155038"/>
                <a:gd name="connsiteX4" fmla="*/ 0 w 167094"/>
                <a:gd name="connsiteY4" fmla="*/ 0 h 155038"/>
                <a:gd name="connsiteX0" fmla="*/ 0 w 167094"/>
                <a:gd name="connsiteY0" fmla="*/ 0 h 155038"/>
                <a:gd name="connsiteX1" fmla="*/ 167094 w 167094"/>
                <a:gd name="connsiteY1" fmla="*/ 155038 h 155038"/>
                <a:gd name="connsiteX2" fmla="*/ 0 w 167094"/>
                <a:gd name="connsiteY2" fmla="*/ 155038 h 155038"/>
                <a:gd name="connsiteX3" fmla="*/ 0 w 167094"/>
                <a:gd name="connsiteY3" fmla="*/ 0 h 155038"/>
              </a:gdLst>
              <a:ahLst/>
              <a:cxnLst>
                <a:cxn ang="0">
                  <a:pos x="connsiteX0" y="connsiteY0"/>
                </a:cxn>
                <a:cxn ang="0">
                  <a:pos x="connsiteX1" y="connsiteY1"/>
                </a:cxn>
                <a:cxn ang="0">
                  <a:pos x="connsiteX2" y="connsiteY2"/>
                </a:cxn>
                <a:cxn ang="0">
                  <a:pos x="connsiteX3" y="connsiteY3"/>
                </a:cxn>
              </a:cxnLst>
              <a:rect l="l" t="t" r="r" b="b"/>
              <a:pathLst>
                <a:path w="167094" h="155038">
                  <a:moveTo>
                    <a:pt x="0" y="0"/>
                  </a:moveTo>
                  <a:lnTo>
                    <a:pt x="167094" y="155038"/>
                  </a:lnTo>
                  <a:lnTo>
                    <a:pt x="0" y="155038"/>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7" name="Title 106">
            <a:extLst>
              <a:ext uri="{FF2B5EF4-FFF2-40B4-BE49-F238E27FC236}">
                <a16:creationId xmlns:a16="http://schemas.microsoft.com/office/drawing/2014/main" id="{1DC367AD-1B27-46D3-BA7B-61BAFFA911E8}"/>
              </a:ext>
            </a:extLst>
          </p:cNvPr>
          <p:cNvSpPr>
            <a:spLocks noGrp="1"/>
          </p:cNvSpPr>
          <p:nvPr>
            <p:ph type="title"/>
          </p:nvPr>
        </p:nvSpPr>
        <p:spPr>
          <a:xfrm>
            <a:off x="588263" y="457200"/>
            <a:ext cx="11018520" cy="492443"/>
          </a:xfrm>
        </p:spPr>
        <p:txBody>
          <a:bodyPr/>
          <a:lstStyle/>
          <a:p>
            <a:r>
              <a:rPr lang="en-US" sz="3200"/>
              <a:t>Robotic Process Automation</a:t>
            </a:r>
          </a:p>
        </p:txBody>
      </p:sp>
      <p:sp>
        <p:nvSpPr>
          <p:cNvPr id="138" name="Freeform 271">
            <a:extLst>
              <a:ext uri="{FF2B5EF4-FFF2-40B4-BE49-F238E27FC236}">
                <a16:creationId xmlns:a16="http://schemas.microsoft.com/office/drawing/2014/main" id="{3EF4CB10-24A6-4D16-86EC-9656A8A62D57}"/>
              </a:ext>
            </a:extLst>
          </p:cNvPr>
          <p:cNvSpPr/>
          <p:nvPr/>
        </p:nvSpPr>
        <p:spPr>
          <a:xfrm>
            <a:off x="10302300" y="2919789"/>
            <a:ext cx="714266" cy="539267"/>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chemeClr val="accent2"/>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02" name="Group 201">
            <a:extLst>
              <a:ext uri="{FF2B5EF4-FFF2-40B4-BE49-F238E27FC236}">
                <a16:creationId xmlns:a16="http://schemas.microsoft.com/office/drawing/2014/main" id="{A77934A8-661A-4EFD-BCAA-15440D45D974}"/>
              </a:ext>
            </a:extLst>
          </p:cNvPr>
          <p:cNvGrpSpPr/>
          <p:nvPr/>
        </p:nvGrpSpPr>
        <p:grpSpPr>
          <a:xfrm>
            <a:off x="5840209" y="3414018"/>
            <a:ext cx="735850" cy="264025"/>
            <a:chOff x="6392122" y="4598006"/>
            <a:chExt cx="452340" cy="162301"/>
          </a:xfrm>
        </p:grpSpPr>
        <p:sp>
          <p:nvSpPr>
            <p:cNvPr id="190" name="Rectangle 442">
              <a:extLst>
                <a:ext uri="{FF2B5EF4-FFF2-40B4-BE49-F238E27FC236}">
                  <a16:creationId xmlns:a16="http://schemas.microsoft.com/office/drawing/2014/main" id="{76003DA5-FA2D-484A-9005-2D5DEE8BB5BA}"/>
                </a:ext>
              </a:extLst>
            </p:cNvPr>
            <p:cNvSpPr>
              <a:spLocks noChangeArrowheads="1"/>
            </p:cNvSpPr>
            <p:nvPr/>
          </p:nvSpPr>
          <p:spPr bwMode="auto">
            <a:xfrm>
              <a:off x="6392122" y="4598006"/>
              <a:ext cx="452340" cy="16230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5" name="Freeform 447">
              <a:extLst>
                <a:ext uri="{FF2B5EF4-FFF2-40B4-BE49-F238E27FC236}">
                  <a16:creationId xmlns:a16="http://schemas.microsoft.com/office/drawing/2014/main" id="{07C48623-84DE-43A4-8A89-37DDB726941A}"/>
                </a:ext>
              </a:extLst>
            </p:cNvPr>
            <p:cNvSpPr>
              <a:spLocks/>
            </p:cNvSpPr>
            <p:nvPr/>
          </p:nvSpPr>
          <p:spPr bwMode="auto">
            <a:xfrm>
              <a:off x="6688138" y="4662488"/>
              <a:ext cx="71438" cy="71438"/>
            </a:xfrm>
            <a:custGeom>
              <a:avLst/>
              <a:gdLst>
                <a:gd name="T0" fmla="*/ 34 w 45"/>
                <a:gd name="T1" fmla="*/ 0 h 45"/>
                <a:gd name="T2" fmla="*/ 45 w 45"/>
                <a:gd name="T3" fmla="*/ 11 h 45"/>
                <a:gd name="T4" fmla="*/ 10 w 45"/>
                <a:gd name="T5" fmla="*/ 45 h 45"/>
                <a:gd name="T6" fmla="*/ 0 w 45"/>
                <a:gd name="T7" fmla="*/ 35 h 45"/>
                <a:gd name="T8" fmla="*/ 34 w 45"/>
                <a:gd name="T9" fmla="*/ 0 h 45"/>
              </a:gdLst>
              <a:ahLst/>
              <a:cxnLst>
                <a:cxn ang="0">
                  <a:pos x="T0" y="T1"/>
                </a:cxn>
                <a:cxn ang="0">
                  <a:pos x="T2" y="T3"/>
                </a:cxn>
                <a:cxn ang="0">
                  <a:pos x="T4" y="T5"/>
                </a:cxn>
                <a:cxn ang="0">
                  <a:pos x="T6" y="T7"/>
                </a:cxn>
                <a:cxn ang="0">
                  <a:pos x="T8" y="T9"/>
                </a:cxn>
              </a:cxnLst>
              <a:rect l="0" t="0" r="r" b="b"/>
              <a:pathLst>
                <a:path w="45" h="45">
                  <a:moveTo>
                    <a:pt x="34" y="0"/>
                  </a:moveTo>
                  <a:lnTo>
                    <a:pt x="45" y="11"/>
                  </a:lnTo>
                  <a:lnTo>
                    <a:pt x="10" y="45"/>
                  </a:lnTo>
                  <a:lnTo>
                    <a:pt x="0" y="35"/>
                  </a:lnTo>
                  <a:lnTo>
                    <a:pt x="3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6" name="Freeform 448">
              <a:extLst>
                <a:ext uri="{FF2B5EF4-FFF2-40B4-BE49-F238E27FC236}">
                  <a16:creationId xmlns:a16="http://schemas.microsoft.com/office/drawing/2014/main" id="{3BC78AC6-E9AA-4311-8798-3C2597D6475C}"/>
                </a:ext>
              </a:extLst>
            </p:cNvPr>
            <p:cNvSpPr>
              <a:spLocks/>
            </p:cNvSpPr>
            <p:nvPr/>
          </p:nvSpPr>
          <p:spPr bwMode="auto">
            <a:xfrm>
              <a:off x="6688138" y="4624388"/>
              <a:ext cx="71438" cy="71438"/>
            </a:xfrm>
            <a:custGeom>
              <a:avLst/>
              <a:gdLst>
                <a:gd name="T0" fmla="*/ 45 w 45"/>
                <a:gd name="T1" fmla="*/ 35 h 45"/>
                <a:gd name="T2" fmla="*/ 34 w 45"/>
                <a:gd name="T3" fmla="*/ 45 h 45"/>
                <a:gd name="T4" fmla="*/ 0 w 45"/>
                <a:gd name="T5" fmla="*/ 11 h 45"/>
                <a:gd name="T6" fmla="*/ 10 w 45"/>
                <a:gd name="T7" fmla="*/ 0 h 45"/>
                <a:gd name="T8" fmla="*/ 45 w 45"/>
                <a:gd name="T9" fmla="*/ 35 h 45"/>
              </a:gdLst>
              <a:ahLst/>
              <a:cxnLst>
                <a:cxn ang="0">
                  <a:pos x="T0" y="T1"/>
                </a:cxn>
                <a:cxn ang="0">
                  <a:pos x="T2" y="T3"/>
                </a:cxn>
                <a:cxn ang="0">
                  <a:pos x="T4" y="T5"/>
                </a:cxn>
                <a:cxn ang="0">
                  <a:pos x="T6" y="T7"/>
                </a:cxn>
                <a:cxn ang="0">
                  <a:pos x="T8" y="T9"/>
                </a:cxn>
              </a:cxnLst>
              <a:rect l="0" t="0" r="r" b="b"/>
              <a:pathLst>
                <a:path w="45" h="45">
                  <a:moveTo>
                    <a:pt x="45" y="35"/>
                  </a:moveTo>
                  <a:lnTo>
                    <a:pt x="34" y="45"/>
                  </a:lnTo>
                  <a:lnTo>
                    <a:pt x="0" y="11"/>
                  </a:lnTo>
                  <a:lnTo>
                    <a:pt x="10" y="0"/>
                  </a:lnTo>
                  <a:lnTo>
                    <a:pt x="45" y="35"/>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7" name="Freeform 449">
              <a:extLst>
                <a:ext uri="{FF2B5EF4-FFF2-40B4-BE49-F238E27FC236}">
                  <a16:creationId xmlns:a16="http://schemas.microsoft.com/office/drawing/2014/main" id="{1FCA583C-62A2-4859-BD44-F54B3255295E}"/>
                </a:ext>
              </a:extLst>
            </p:cNvPr>
            <p:cNvSpPr>
              <a:spLocks/>
            </p:cNvSpPr>
            <p:nvPr/>
          </p:nvSpPr>
          <p:spPr bwMode="auto">
            <a:xfrm>
              <a:off x="6478588" y="4662488"/>
              <a:ext cx="71438" cy="71438"/>
            </a:xfrm>
            <a:custGeom>
              <a:avLst/>
              <a:gdLst>
                <a:gd name="T0" fmla="*/ 11 w 45"/>
                <a:gd name="T1" fmla="*/ 0 h 45"/>
                <a:gd name="T2" fmla="*/ 0 w 45"/>
                <a:gd name="T3" fmla="*/ 11 h 45"/>
                <a:gd name="T4" fmla="*/ 35 w 45"/>
                <a:gd name="T5" fmla="*/ 45 h 45"/>
                <a:gd name="T6" fmla="*/ 45 w 45"/>
                <a:gd name="T7" fmla="*/ 35 h 45"/>
                <a:gd name="T8" fmla="*/ 11 w 45"/>
                <a:gd name="T9" fmla="*/ 0 h 45"/>
              </a:gdLst>
              <a:ahLst/>
              <a:cxnLst>
                <a:cxn ang="0">
                  <a:pos x="T0" y="T1"/>
                </a:cxn>
                <a:cxn ang="0">
                  <a:pos x="T2" y="T3"/>
                </a:cxn>
                <a:cxn ang="0">
                  <a:pos x="T4" y="T5"/>
                </a:cxn>
                <a:cxn ang="0">
                  <a:pos x="T6" y="T7"/>
                </a:cxn>
                <a:cxn ang="0">
                  <a:pos x="T8" y="T9"/>
                </a:cxn>
              </a:cxnLst>
              <a:rect l="0" t="0" r="r" b="b"/>
              <a:pathLst>
                <a:path w="45" h="45">
                  <a:moveTo>
                    <a:pt x="11" y="0"/>
                  </a:moveTo>
                  <a:lnTo>
                    <a:pt x="0" y="11"/>
                  </a:lnTo>
                  <a:lnTo>
                    <a:pt x="35" y="45"/>
                  </a:lnTo>
                  <a:lnTo>
                    <a:pt x="45" y="35"/>
                  </a:lnTo>
                  <a:lnTo>
                    <a:pt x="11"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8" name="Freeform 450">
              <a:extLst>
                <a:ext uri="{FF2B5EF4-FFF2-40B4-BE49-F238E27FC236}">
                  <a16:creationId xmlns:a16="http://schemas.microsoft.com/office/drawing/2014/main" id="{0414CC46-1F03-4AFA-9F2B-FAF4F483AB1F}"/>
                </a:ext>
              </a:extLst>
            </p:cNvPr>
            <p:cNvSpPr>
              <a:spLocks/>
            </p:cNvSpPr>
            <p:nvPr/>
          </p:nvSpPr>
          <p:spPr bwMode="auto">
            <a:xfrm>
              <a:off x="6478588" y="4624388"/>
              <a:ext cx="71438" cy="71438"/>
            </a:xfrm>
            <a:custGeom>
              <a:avLst/>
              <a:gdLst>
                <a:gd name="T0" fmla="*/ 0 w 45"/>
                <a:gd name="T1" fmla="*/ 35 h 45"/>
                <a:gd name="T2" fmla="*/ 11 w 45"/>
                <a:gd name="T3" fmla="*/ 45 h 45"/>
                <a:gd name="T4" fmla="*/ 45 w 45"/>
                <a:gd name="T5" fmla="*/ 11 h 45"/>
                <a:gd name="T6" fmla="*/ 35 w 45"/>
                <a:gd name="T7" fmla="*/ 0 h 45"/>
                <a:gd name="T8" fmla="*/ 0 w 45"/>
                <a:gd name="T9" fmla="*/ 35 h 45"/>
              </a:gdLst>
              <a:ahLst/>
              <a:cxnLst>
                <a:cxn ang="0">
                  <a:pos x="T0" y="T1"/>
                </a:cxn>
                <a:cxn ang="0">
                  <a:pos x="T2" y="T3"/>
                </a:cxn>
                <a:cxn ang="0">
                  <a:pos x="T4" y="T5"/>
                </a:cxn>
                <a:cxn ang="0">
                  <a:pos x="T6" y="T7"/>
                </a:cxn>
                <a:cxn ang="0">
                  <a:pos x="T8" y="T9"/>
                </a:cxn>
              </a:cxnLst>
              <a:rect l="0" t="0" r="r" b="b"/>
              <a:pathLst>
                <a:path w="45" h="45">
                  <a:moveTo>
                    <a:pt x="0" y="35"/>
                  </a:moveTo>
                  <a:lnTo>
                    <a:pt x="11" y="45"/>
                  </a:lnTo>
                  <a:lnTo>
                    <a:pt x="45" y="11"/>
                  </a:lnTo>
                  <a:lnTo>
                    <a:pt x="35" y="0"/>
                  </a:lnTo>
                  <a:lnTo>
                    <a:pt x="0" y="35"/>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9" name="Oval 451">
              <a:extLst>
                <a:ext uri="{FF2B5EF4-FFF2-40B4-BE49-F238E27FC236}">
                  <a16:creationId xmlns:a16="http://schemas.microsoft.com/office/drawing/2014/main" id="{45495235-177A-4C74-90F5-9D078A033E15}"/>
                </a:ext>
              </a:extLst>
            </p:cNvPr>
            <p:cNvSpPr>
              <a:spLocks noChangeArrowheads="1"/>
            </p:cNvSpPr>
            <p:nvPr/>
          </p:nvSpPr>
          <p:spPr bwMode="auto">
            <a:xfrm>
              <a:off x="6602413" y="4664075"/>
              <a:ext cx="31750" cy="30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0" name="Oval 452">
              <a:extLst>
                <a:ext uri="{FF2B5EF4-FFF2-40B4-BE49-F238E27FC236}">
                  <a16:creationId xmlns:a16="http://schemas.microsoft.com/office/drawing/2014/main" id="{2A955713-E053-4EE0-B0EE-A1E5499C93CC}"/>
                </a:ext>
              </a:extLst>
            </p:cNvPr>
            <p:cNvSpPr>
              <a:spLocks noChangeArrowheads="1"/>
            </p:cNvSpPr>
            <p:nvPr/>
          </p:nvSpPr>
          <p:spPr bwMode="auto">
            <a:xfrm>
              <a:off x="6650038" y="4664075"/>
              <a:ext cx="30163" cy="30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1" name="Oval 453">
              <a:extLst>
                <a:ext uri="{FF2B5EF4-FFF2-40B4-BE49-F238E27FC236}">
                  <a16:creationId xmlns:a16="http://schemas.microsoft.com/office/drawing/2014/main" id="{33394BAE-C520-4621-8095-01E244B9069C}"/>
                </a:ext>
              </a:extLst>
            </p:cNvPr>
            <p:cNvSpPr>
              <a:spLocks noChangeArrowheads="1"/>
            </p:cNvSpPr>
            <p:nvPr/>
          </p:nvSpPr>
          <p:spPr bwMode="auto">
            <a:xfrm>
              <a:off x="6556376" y="4664075"/>
              <a:ext cx="30163" cy="30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12" name="Group 211">
            <a:extLst>
              <a:ext uri="{FF2B5EF4-FFF2-40B4-BE49-F238E27FC236}">
                <a16:creationId xmlns:a16="http://schemas.microsoft.com/office/drawing/2014/main" id="{06B39576-4238-4792-AA1F-B460D0ACE51B}"/>
              </a:ext>
            </a:extLst>
          </p:cNvPr>
          <p:cNvGrpSpPr/>
          <p:nvPr/>
        </p:nvGrpSpPr>
        <p:grpSpPr>
          <a:xfrm>
            <a:off x="8221030" y="2815230"/>
            <a:ext cx="583514" cy="748384"/>
            <a:chOff x="9354862" y="4200274"/>
            <a:chExt cx="477631" cy="612586"/>
          </a:xfrm>
        </p:grpSpPr>
        <p:sp>
          <p:nvSpPr>
            <p:cNvPr id="208" name="Freeform: Shape 207">
              <a:extLst>
                <a:ext uri="{FF2B5EF4-FFF2-40B4-BE49-F238E27FC236}">
                  <a16:creationId xmlns:a16="http://schemas.microsoft.com/office/drawing/2014/main" id="{B6D56972-A931-495E-9C45-BF82A462FAA2}"/>
                </a:ext>
              </a:extLst>
            </p:cNvPr>
            <p:cNvSpPr/>
            <p:nvPr/>
          </p:nvSpPr>
          <p:spPr>
            <a:xfrm>
              <a:off x="9354862" y="4200274"/>
              <a:ext cx="477631" cy="356259"/>
            </a:xfrm>
            <a:custGeom>
              <a:avLst/>
              <a:gdLst>
                <a:gd name="connsiteX0" fmla="*/ 238815 w 477631"/>
                <a:gd name="connsiteY0" fmla="*/ 0 h 356259"/>
                <a:gd name="connsiteX1" fmla="*/ 476398 w 477631"/>
                <a:gd name="connsiteY1" fmla="*/ 87456 h 356259"/>
                <a:gd name="connsiteX2" fmla="*/ 477266 w 477631"/>
                <a:gd name="connsiteY2" fmla="*/ 94469 h 356259"/>
                <a:gd name="connsiteX3" fmla="*/ 477631 w 477631"/>
                <a:gd name="connsiteY3" fmla="*/ 94469 h 356259"/>
                <a:gd name="connsiteX4" fmla="*/ 477631 w 477631"/>
                <a:gd name="connsiteY4" fmla="*/ 97416 h 356259"/>
                <a:gd name="connsiteX5" fmla="*/ 477631 w 477631"/>
                <a:gd name="connsiteY5" fmla="*/ 333896 h 356259"/>
                <a:gd name="connsiteX6" fmla="*/ 472500 w 477631"/>
                <a:gd name="connsiteY6" fmla="*/ 338196 h 356259"/>
                <a:gd name="connsiteX7" fmla="*/ 409442 w 477631"/>
                <a:gd name="connsiteY7" fmla="*/ 356259 h 356259"/>
                <a:gd name="connsiteX8" fmla="*/ 327272 w 477631"/>
                <a:gd name="connsiteY8" fmla="*/ 318594 h 356259"/>
                <a:gd name="connsiteX9" fmla="*/ 323075 w 477631"/>
                <a:gd name="connsiteY9" fmla="*/ 309244 h 356259"/>
                <a:gd name="connsiteX10" fmla="*/ 318878 w 477631"/>
                <a:gd name="connsiteY10" fmla="*/ 318594 h 356259"/>
                <a:gd name="connsiteX11" fmla="*/ 236708 w 477631"/>
                <a:gd name="connsiteY11" fmla="*/ 356259 h 356259"/>
                <a:gd name="connsiteX12" fmla="*/ 154538 w 477631"/>
                <a:gd name="connsiteY12" fmla="*/ 318594 h 356259"/>
                <a:gd name="connsiteX13" fmla="*/ 152448 w 477631"/>
                <a:gd name="connsiteY13" fmla="*/ 313938 h 356259"/>
                <a:gd name="connsiteX14" fmla="*/ 150358 w 477631"/>
                <a:gd name="connsiteY14" fmla="*/ 318594 h 356259"/>
                <a:gd name="connsiteX15" fmla="*/ 68189 w 477631"/>
                <a:gd name="connsiteY15" fmla="*/ 356259 h 356259"/>
                <a:gd name="connsiteX16" fmla="*/ 5130 w 477631"/>
                <a:gd name="connsiteY16" fmla="*/ 338196 h 356259"/>
                <a:gd name="connsiteX17" fmla="*/ 0 w 477631"/>
                <a:gd name="connsiteY17" fmla="*/ 333897 h 356259"/>
                <a:gd name="connsiteX18" fmla="*/ 0 w 477631"/>
                <a:gd name="connsiteY18" fmla="*/ 97417 h 356259"/>
                <a:gd name="connsiteX19" fmla="*/ 0 w 477631"/>
                <a:gd name="connsiteY19" fmla="*/ 97416 h 356259"/>
                <a:gd name="connsiteX20" fmla="*/ 0 w 477631"/>
                <a:gd name="connsiteY20" fmla="*/ 97415 h 356259"/>
                <a:gd name="connsiteX21" fmla="*/ 1233 w 477631"/>
                <a:gd name="connsiteY21" fmla="*/ 87456 h 356259"/>
                <a:gd name="connsiteX22" fmla="*/ 238815 w 477631"/>
                <a:gd name="connsiteY22" fmla="*/ 0 h 356259"/>
                <a:gd name="connsiteX23" fmla="*/ 238816 w 477631"/>
                <a:gd name="connsiteY23" fmla="*/ 35143 h 356259"/>
                <a:gd name="connsiteX24" fmla="*/ 73975 w 477631"/>
                <a:gd name="connsiteY24" fmla="*/ 83523 h 356259"/>
                <a:gd name="connsiteX25" fmla="*/ 238816 w 477631"/>
                <a:gd name="connsiteY25" fmla="*/ 131904 h 356259"/>
                <a:gd name="connsiteX26" fmla="*/ 403656 w 477631"/>
                <a:gd name="connsiteY26" fmla="*/ 83523 h 356259"/>
                <a:gd name="connsiteX27" fmla="*/ 238816 w 477631"/>
                <a:gd name="connsiteY27" fmla="*/ 35143 h 35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77631" h="356259">
                  <a:moveTo>
                    <a:pt x="238815" y="0"/>
                  </a:moveTo>
                  <a:cubicBezTo>
                    <a:pt x="362466" y="0"/>
                    <a:pt x="464168" y="38333"/>
                    <a:pt x="476398" y="87456"/>
                  </a:cubicBezTo>
                  <a:lnTo>
                    <a:pt x="477266" y="94469"/>
                  </a:lnTo>
                  <a:lnTo>
                    <a:pt x="477631" y="94469"/>
                  </a:lnTo>
                  <a:lnTo>
                    <a:pt x="477631" y="97416"/>
                  </a:lnTo>
                  <a:cubicBezTo>
                    <a:pt x="477631" y="176243"/>
                    <a:pt x="477631" y="255070"/>
                    <a:pt x="477631" y="333896"/>
                  </a:cubicBezTo>
                  <a:lnTo>
                    <a:pt x="472500" y="338196"/>
                  </a:lnTo>
                  <a:cubicBezTo>
                    <a:pt x="456362" y="349356"/>
                    <a:pt x="434068" y="356259"/>
                    <a:pt x="409442" y="356259"/>
                  </a:cubicBezTo>
                  <a:cubicBezTo>
                    <a:pt x="372503" y="356259"/>
                    <a:pt x="340810" y="340728"/>
                    <a:pt x="327272" y="318594"/>
                  </a:cubicBezTo>
                  <a:lnTo>
                    <a:pt x="323075" y="309244"/>
                  </a:lnTo>
                  <a:lnTo>
                    <a:pt x="318878" y="318594"/>
                  </a:lnTo>
                  <a:cubicBezTo>
                    <a:pt x="305340" y="340728"/>
                    <a:pt x="273647" y="356259"/>
                    <a:pt x="236708" y="356259"/>
                  </a:cubicBezTo>
                  <a:cubicBezTo>
                    <a:pt x="199770" y="356259"/>
                    <a:pt x="168076" y="340728"/>
                    <a:pt x="154538" y="318594"/>
                  </a:cubicBezTo>
                  <a:lnTo>
                    <a:pt x="152448" y="313938"/>
                  </a:lnTo>
                  <a:lnTo>
                    <a:pt x="150358" y="318594"/>
                  </a:lnTo>
                  <a:cubicBezTo>
                    <a:pt x="136820" y="340728"/>
                    <a:pt x="105127" y="356259"/>
                    <a:pt x="68189" y="356259"/>
                  </a:cubicBezTo>
                  <a:cubicBezTo>
                    <a:pt x="43563" y="356259"/>
                    <a:pt x="21268" y="349356"/>
                    <a:pt x="5130" y="338196"/>
                  </a:cubicBezTo>
                  <a:lnTo>
                    <a:pt x="0" y="333897"/>
                  </a:lnTo>
                  <a:cubicBezTo>
                    <a:pt x="0" y="255070"/>
                    <a:pt x="0" y="176244"/>
                    <a:pt x="0" y="97417"/>
                  </a:cubicBezTo>
                  <a:cubicBezTo>
                    <a:pt x="0" y="97417"/>
                    <a:pt x="0" y="97416"/>
                    <a:pt x="0" y="97416"/>
                  </a:cubicBezTo>
                  <a:cubicBezTo>
                    <a:pt x="0" y="97416"/>
                    <a:pt x="0" y="97415"/>
                    <a:pt x="0" y="97415"/>
                  </a:cubicBezTo>
                  <a:lnTo>
                    <a:pt x="1233" y="87456"/>
                  </a:lnTo>
                  <a:cubicBezTo>
                    <a:pt x="13463" y="38333"/>
                    <a:pt x="115165" y="0"/>
                    <a:pt x="238815" y="0"/>
                  </a:cubicBezTo>
                  <a:close/>
                  <a:moveTo>
                    <a:pt x="238816" y="35143"/>
                  </a:moveTo>
                  <a:cubicBezTo>
                    <a:pt x="147777" y="35143"/>
                    <a:pt x="73975" y="56804"/>
                    <a:pt x="73975" y="83523"/>
                  </a:cubicBezTo>
                  <a:cubicBezTo>
                    <a:pt x="73975" y="110243"/>
                    <a:pt x="147777" y="131904"/>
                    <a:pt x="238816" y="131904"/>
                  </a:cubicBezTo>
                  <a:cubicBezTo>
                    <a:pt x="329854" y="131904"/>
                    <a:pt x="403656" y="110243"/>
                    <a:pt x="403656" y="83523"/>
                  </a:cubicBezTo>
                  <a:cubicBezTo>
                    <a:pt x="403656" y="56804"/>
                    <a:pt x="329854" y="35143"/>
                    <a:pt x="238816" y="3514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6" name="Freeform: Shape 205">
              <a:extLst>
                <a:ext uri="{FF2B5EF4-FFF2-40B4-BE49-F238E27FC236}">
                  <a16:creationId xmlns:a16="http://schemas.microsoft.com/office/drawing/2014/main" id="{21455280-1868-4834-BC6A-2F22FF7F255B}"/>
                </a:ext>
              </a:extLst>
            </p:cNvPr>
            <p:cNvSpPr/>
            <p:nvPr/>
          </p:nvSpPr>
          <p:spPr>
            <a:xfrm>
              <a:off x="9354862" y="4545719"/>
              <a:ext cx="477631" cy="267141"/>
            </a:xfrm>
            <a:custGeom>
              <a:avLst/>
              <a:gdLst>
                <a:gd name="connsiteX0" fmla="*/ 323075 w 477631"/>
                <a:gd name="connsiteY0" fmla="*/ 0 h 267141"/>
                <a:gd name="connsiteX1" fmla="*/ 327272 w 477631"/>
                <a:gd name="connsiteY1" fmla="*/ 9350 h 267141"/>
                <a:gd name="connsiteX2" fmla="*/ 409442 w 477631"/>
                <a:gd name="connsiteY2" fmla="*/ 47015 h 267141"/>
                <a:gd name="connsiteX3" fmla="*/ 472500 w 477631"/>
                <a:gd name="connsiteY3" fmla="*/ 28952 h 267141"/>
                <a:gd name="connsiteX4" fmla="*/ 477631 w 477631"/>
                <a:gd name="connsiteY4" fmla="*/ 24652 h 267141"/>
                <a:gd name="connsiteX5" fmla="*/ 477631 w 477631"/>
                <a:gd name="connsiteY5" fmla="*/ 169724 h 267141"/>
                <a:gd name="connsiteX6" fmla="*/ 477631 w 477631"/>
                <a:gd name="connsiteY6" fmla="*/ 169725 h 267141"/>
                <a:gd name="connsiteX7" fmla="*/ 477631 w 477631"/>
                <a:gd name="connsiteY7" fmla="*/ 169727 h 267141"/>
                <a:gd name="connsiteX8" fmla="*/ 477631 w 477631"/>
                <a:gd name="connsiteY8" fmla="*/ 172672 h 267141"/>
                <a:gd name="connsiteX9" fmla="*/ 477266 w 477631"/>
                <a:gd name="connsiteY9" fmla="*/ 172672 h 267141"/>
                <a:gd name="connsiteX10" fmla="*/ 476398 w 477631"/>
                <a:gd name="connsiteY10" fmla="*/ 179686 h 267141"/>
                <a:gd name="connsiteX11" fmla="*/ 238816 w 477631"/>
                <a:gd name="connsiteY11" fmla="*/ 267141 h 267141"/>
                <a:gd name="connsiteX12" fmla="*/ 1233 w 477631"/>
                <a:gd name="connsiteY12" fmla="*/ 179686 h 267141"/>
                <a:gd name="connsiteX13" fmla="*/ 365 w 477631"/>
                <a:gd name="connsiteY13" fmla="*/ 172672 h 267141"/>
                <a:gd name="connsiteX14" fmla="*/ 0 w 477631"/>
                <a:gd name="connsiteY14" fmla="*/ 172672 h 267141"/>
                <a:gd name="connsiteX15" fmla="*/ 0 w 477631"/>
                <a:gd name="connsiteY15" fmla="*/ 169725 h 267141"/>
                <a:gd name="connsiteX16" fmla="*/ 0 w 477631"/>
                <a:gd name="connsiteY16" fmla="*/ 24653 h 267141"/>
                <a:gd name="connsiteX17" fmla="*/ 5130 w 477631"/>
                <a:gd name="connsiteY17" fmla="*/ 28952 h 267141"/>
                <a:gd name="connsiteX18" fmla="*/ 68189 w 477631"/>
                <a:gd name="connsiteY18" fmla="*/ 47015 h 267141"/>
                <a:gd name="connsiteX19" fmla="*/ 150358 w 477631"/>
                <a:gd name="connsiteY19" fmla="*/ 9350 h 267141"/>
                <a:gd name="connsiteX20" fmla="*/ 152449 w 477631"/>
                <a:gd name="connsiteY20" fmla="*/ 4694 h 267141"/>
                <a:gd name="connsiteX21" fmla="*/ 154539 w 477631"/>
                <a:gd name="connsiteY21" fmla="*/ 9350 h 267141"/>
                <a:gd name="connsiteX22" fmla="*/ 236708 w 477631"/>
                <a:gd name="connsiteY22" fmla="*/ 47015 h 267141"/>
                <a:gd name="connsiteX23" fmla="*/ 318878 w 477631"/>
                <a:gd name="connsiteY23" fmla="*/ 9350 h 267141"/>
                <a:gd name="connsiteX24" fmla="*/ 323075 w 477631"/>
                <a:gd name="connsiteY24" fmla="*/ 0 h 267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7631" h="267141">
                  <a:moveTo>
                    <a:pt x="323075" y="0"/>
                  </a:moveTo>
                  <a:lnTo>
                    <a:pt x="327272" y="9350"/>
                  </a:lnTo>
                  <a:cubicBezTo>
                    <a:pt x="340810" y="31484"/>
                    <a:pt x="372504" y="47015"/>
                    <a:pt x="409442" y="47015"/>
                  </a:cubicBezTo>
                  <a:cubicBezTo>
                    <a:pt x="434068" y="47015"/>
                    <a:pt x="456362" y="40112"/>
                    <a:pt x="472500" y="28952"/>
                  </a:cubicBezTo>
                  <a:lnTo>
                    <a:pt x="477631" y="24652"/>
                  </a:lnTo>
                  <a:lnTo>
                    <a:pt x="477631" y="169724"/>
                  </a:lnTo>
                  <a:cubicBezTo>
                    <a:pt x="477631" y="169725"/>
                    <a:pt x="477631" y="169725"/>
                    <a:pt x="477631" y="169725"/>
                  </a:cubicBezTo>
                  <a:cubicBezTo>
                    <a:pt x="477631" y="169726"/>
                    <a:pt x="477631" y="169726"/>
                    <a:pt x="477631" y="169727"/>
                  </a:cubicBezTo>
                  <a:lnTo>
                    <a:pt x="477631" y="172672"/>
                  </a:lnTo>
                  <a:lnTo>
                    <a:pt x="477266" y="172672"/>
                  </a:lnTo>
                  <a:lnTo>
                    <a:pt x="476398" y="179686"/>
                  </a:lnTo>
                  <a:cubicBezTo>
                    <a:pt x="464168" y="228808"/>
                    <a:pt x="362466" y="267141"/>
                    <a:pt x="238816" y="267141"/>
                  </a:cubicBezTo>
                  <a:cubicBezTo>
                    <a:pt x="115165" y="267141"/>
                    <a:pt x="13463" y="228808"/>
                    <a:pt x="1233" y="179686"/>
                  </a:cubicBezTo>
                  <a:lnTo>
                    <a:pt x="365" y="172672"/>
                  </a:lnTo>
                  <a:lnTo>
                    <a:pt x="0" y="172672"/>
                  </a:lnTo>
                  <a:lnTo>
                    <a:pt x="0" y="169725"/>
                  </a:lnTo>
                  <a:lnTo>
                    <a:pt x="0" y="24653"/>
                  </a:lnTo>
                  <a:lnTo>
                    <a:pt x="5130" y="28952"/>
                  </a:lnTo>
                  <a:cubicBezTo>
                    <a:pt x="21268" y="40112"/>
                    <a:pt x="43563" y="47015"/>
                    <a:pt x="68189" y="47015"/>
                  </a:cubicBezTo>
                  <a:cubicBezTo>
                    <a:pt x="105127" y="47015"/>
                    <a:pt x="136821" y="31484"/>
                    <a:pt x="150358" y="9350"/>
                  </a:cubicBezTo>
                  <a:lnTo>
                    <a:pt x="152449" y="4694"/>
                  </a:lnTo>
                  <a:lnTo>
                    <a:pt x="154539" y="9350"/>
                  </a:lnTo>
                  <a:cubicBezTo>
                    <a:pt x="168076" y="31484"/>
                    <a:pt x="199770" y="47015"/>
                    <a:pt x="236708" y="47015"/>
                  </a:cubicBezTo>
                  <a:cubicBezTo>
                    <a:pt x="273647" y="47015"/>
                    <a:pt x="305340" y="31484"/>
                    <a:pt x="318878" y="9350"/>
                  </a:cubicBezTo>
                  <a:lnTo>
                    <a:pt x="323075"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13" name="TextBox 112">
            <a:extLst>
              <a:ext uri="{FF2B5EF4-FFF2-40B4-BE49-F238E27FC236}">
                <a16:creationId xmlns:a16="http://schemas.microsoft.com/office/drawing/2014/main" id="{0A6D64DA-3B03-4FD8-912F-D74AF33B9E46}"/>
              </a:ext>
            </a:extLst>
          </p:cNvPr>
          <p:cNvSpPr txBox="1"/>
          <p:nvPr/>
        </p:nvSpPr>
        <p:spPr>
          <a:xfrm>
            <a:off x="7803345" y="1899340"/>
            <a:ext cx="1418883" cy="276999"/>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200" b="0" i="0" u="none" strike="noStrike" kern="0" cap="none" spc="0" normalizeH="0" baseline="0">
                <a:ln>
                  <a:noFill/>
                </a:ln>
                <a:solidFill>
                  <a:prstClr val="white"/>
                </a:solidFill>
                <a:effectLst/>
                <a:uLnTx/>
                <a:uFillTx/>
                <a:latin typeface="Segoe UI Semibold"/>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Semibold"/>
                <a:ea typeface="+mn-ea"/>
                <a:cs typeface="Segoe UI Semibold" panose="020B0702040204020203" pitchFamily="34" charset="0"/>
              </a:rPr>
              <a:t>Data store</a:t>
            </a:r>
          </a:p>
        </p:txBody>
      </p:sp>
      <p:cxnSp>
        <p:nvCxnSpPr>
          <p:cNvPr id="114" name="Straight Arrow Connector 113">
            <a:extLst>
              <a:ext uri="{FF2B5EF4-FFF2-40B4-BE49-F238E27FC236}">
                <a16:creationId xmlns:a16="http://schemas.microsoft.com/office/drawing/2014/main" id="{15112FC9-4A2B-4C74-AE16-9534DA4F1269}"/>
              </a:ext>
            </a:extLst>
          </p:cNvPr>
          <p:cNvCxnSpPr>
            <a:cxnSpLocks/>
          </p:cNvCxnSpPr>
          <p:nvPr/>
        </p:nvCxnSpPr>
        <p:spPr>
          <a:xfrm>
            <a:off x="2188270" y="3224172"/>
            <a:ext cx="1087493"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97E1E712-3D5D-4B45-BCA3-6E1A16328BDA}"/>
              </a:ext>
            </a:extLst>
          </p:cNvPr>
          <p:cNvCxnSpPr>
            <a:cxnSpLocks/>
          </p:cNvCxnSpPr>
          <p:nvPr/>
        </p:nvCxnSpPr>
        <p:spPr>
          <a:xfrm>
            <a:off x="9041590" y="3219619"/>
            <a:ext cx="102366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8" name="Freeform: Shape 117">
            <a:extLst>
              <a:ext uri="{FF2B5EF4-FFF2-40B4-BE49-F238E27FC236}">
                <a16:creationId xmlns:a16="http://schemas.microsoft.com/office/drawing/2014/main" id="{D09CA0BE-9E4F-4303-A052-65E428DF6180}"/>
              </a:ext>
            </a:extLst>
          </p:cNvPr>
          <p:cNvSpPr>
            <a:spLocks noChangeArrowheads="1"/>
          </p:cNvSpPr>
          <p:nvPr/>
        </p:nvSpPr>
        <p:spPr bwMode="auto">
          <a:xfrm>
            <a:off x="5950522" y="2842896"/>
            <a:ext cx="498877" cy="524116"/>
          </a:xfrm>
          <a:custGeom>
            <a:avLst/>
            <a:gdLst>
              <a:gd name="connsiteX0" fmla="*/ 0 w 498877"/>
              <a:gd name="connsiteY0" fmla="*/ 443949 h 524116"/>
              <a:gd name="connsiteX1" fmla="*/ 498877 w 498877"/>
              <a:gd name="connsiteY1" fmla="*/ 443949 h 524116"/>
              <a:gd name="connsiteX2" fmla="*/ 498877 w 498877"/>
              <a:gd name="connsiteY2" fmla="*/ 524116 h 524116"/>
              <a:gd name="connsiteX3" fmla="*/ 0 w 498877"/>
              <a:gd name="connsiteY3" fmla="*/ 524116 h 524116"/>
              <a:gd name="connsiteX4" fmla="*/ 0 w 498877"/>
              <a:gd name="connsiteY4" fmla="*/ 295090 h 524116"/>
              <a:gd name="connsiteX5" fmla="*/ 498877 w 498877"/>
              <a:gd name="connsiteY5" fmla="*/ 295090 h 524116"/>
              <a:gd name="connsiteX6" fmla="*/ 498877 w 498877"/>
              <a:gd name="connsiteY6" fmla="*/ 378021 h 524116"/>
              <a:gd name="connsiteX7" fmla="*/ 0 w 498877"/>
              <a:gd name="connsiteY7" fmla="*/ 378021 h 524116"/>
              <a:gd name="connsiteX8" fmla="*/ 0 w 498877"/>
              <a:gd name="connsiteY8" fmla="*/ 148996 h 524116"/>
              <a:gd name="connsiteX9" fmla="*/ 498877 w 498877"/>
              <a:gd name="connsiteY9" fmla="*/ 148996 h 524116"/>
              <a:gd name="connsiteX10" fmla="*/ 498877 w 498877"/>
              <a:gd name="connsiteY10" fmla="*/ 229163 h 524116"/>
              <a:gd name="connsiteX11" fmla="*/ 0 w 498877"/>
              <a:gd name="connsiteY11" fmla="*/ 229163 h 524116"/>
              <a:gd name="connsiteX12" fmla="*/ 0 w 498877"/>
              <a:gd name="connsiteY12" fmla="*/ 0 h 524116"/>
              <a:gd name="connsiteX13" fmla="*/ 355118 w 498877"/>
              <a:gd name="connsiteY13" fmla="*/ 0 h 524116"/>
              <a:gd name="connsiteX14" fmla="*/ 355118 w 498877"/>
              <a:gd name="connsiteY14" fmla="*/ 80167 h 524116"/>
              <a:gd name="connsiteX15" fmla="*/ 0 w 498877"/>
              <a:gd name="connsiteY15" fmla="*/ 80167 h 524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8877" h="524116">
                <a:moveTo>
                  <a:pt x="0" y="443949"/>
                </a:moveTo>
                <a:lnTo>
                  <a:pt x="498877" y="443949"/>
                </a:lnTo>
                <a:lnTo>
                  <a:pt x="498877" y="524116"/>
                </a:lnTo>
                <a:lnTo>
                  <a:pt x="0" y="524116"/>
                </a:lnTo>
                <a:close/>
                <a:moveTo>
                  <a:pt x="0" y="295090"/>
                </a:moveTo>
                <a:lnTo>
                  <a:pt x="498877" y="295090"/>
                </a:lnTo>
                <a:lnTo>
                  <a:pt x="498877" y="378021"/>
                </a:lnTo>
                <a:lnTo>
                  <a:pt x="0" y="378021"/>
                </a:lnTo>
                <a:close/>
                <a:moveTo>
                  <a:pt x="0" y="148996"/>
                </a:moveTo>
                <a:lnTo>
                  <a:pt x="498877" y="148996"/>
                </a:lnTo>
                <a:lnTo>
                  <a:pt x="498877" y="229163"/>
                </a:lnTo>
                <a:lnTo>
                  <a:pt x="0" y="229163"/>
                </a:lnTo>
                <a:close/>
                <a:moveTo>
                  <a:pt x="0" y="0"/>
                </a:moveTo>
                <a:lnTo>
                  <a:pt x="355118" y="0"/>
                </a:lnTo>
                <a:lnTo>
                  <a:pt x="355118" y="80167"/>
                </a:lnTo>
                <a:lnTo>
                  <a:pt x="0" y="80167"/>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1" name="Rectangle 139">
            <a:extLst>
              <a:ext uri="{FF2B5EF4-FFF2-40B4-BE49-F238E27FC236}">
                <a16:creationId xmlns:a16="http://schemas.microsoft.com/office/drawing/2014/main" id="{8038B59A-1878-465E-90CB-DBD74BFF35BD}"/>
              </a:ext>
            </a:extLst>
          </p:cNvPr>
          <p:cNvSpPr>
            <a:spLocks noChangeArrowheads="1"/>
          </p:cNvSpPr>
          <p:nvPr/>
        </p:nvSpPr>
        <p:spPr bwMode="auto">
          <a:xfrm>
            <a:off x="6062706" y="4195968"/>
            <a:ext cx="138060" cy="80167"/>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2" name="Rectangle 140">
            <a:extLst>
              <a:ext uri="{FF2B5EF4-FFF2-40B4-BE49-F238E27FC236}">
                <a16:creationId xmlns:a16="http://schemas.microsoft.com/office/drawing/2014/main" id="{D62A0C8F-B5CA-45E0-83CF-4E381FCCC245}"/>
              </a:ext>
            </a:extLst>
          </p:cNvPr>
          <p:cNvSpPr>
            <a:spLocks noChangeArrowheads="1"/>
          </p:cNvSpPr>
          <p:nvPr/>
        </p:nvSpPr>
        <p:spPr bwMode="auto">
          <a:xfrm>
            <a:off x="5840206" y="4344964"/>
            <a:ext cx="170793" cy="80167"/>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5" name="Rectangle 141">
            <a:extLst>
              <a:ext uri="{FF2B5EF4-FFF2-40B4-BE49-F238E27FC236}">
                <a16:creationId xmlns:a16="http://schemas.microsoft.com/office/drawing/2014/main" id="{E2988D71-9999-4517-9643-83CDC0FFE860}"/>
              </a:ext>
            </a:extLst>
          </p:cNvPr>
          <p:cNvSpPr>
            <a:spLocks noChangeArrowheads="1"/>
          </p:cNvSpPr>
          <p:nvPr/>
        </p:nvSpPr>
        <p:spPr bwMode="auto">
          <a:xfrm>
            <a:off x="5967204" y="4491058"/>
            <a:ext cx="318178" cy="8293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7" name="Rectangle 142">
            <a:extLst>
              <a:ext uri="{FF2B5EF4-FFF2-40B4-BE49-F238E27FC236}">
                <a16:creationId xmlns:a16="http://schemas.microsoft.com/office/drawing/2014/main" id="{D87645BE-51C8-47A7-A3DB-222005295E44}"/>
              </a:ext>
            </a:extLst>
          </p:cNvPr>
          <p:cNvSpPr>
            <a:spLocks noChangeArrowheads="1"/>
          </p:cNvSpPr>
          <p:nvPr/>
        </p:nvSpPr>
        <p:spPr bwMode="auto">
          <a:xfrm>
            <a:off x="6048174" y="4639917"/>
            <a:ext cx="298343" cy="80167"/>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06" name="Group 105">
            <a:extLst>
              <a:ext uri="{FF2B5EF4-FFF2-40B4-BE49-F238E27FC236}">
                <a16:creationId xmlns:a16="http://schemas.microsoft.com/office/drawing/2014/main" id="{2ED17A2B-EE09-44EB-A3F9-1EDFF1323612}"/>
              </a:ext>
            </a:extLst>
          </p:cNvPr>
          <p:cNvGrpSpPr/>
          <p:nvPr/>
        </p:nvGrpSpPr>
        <p:grpSpPr>
          <a:xfrm>
            <a:off x="6191879" y="4577650"/>
            <a:ext cx="524721" cy="387021"/>
            <a:chOff x="6547016" y="5134001"/>
            <a:chExt cx="541057" cy="399069"/>
          </a:xfrm>
        </p:grpSpPr>
        <p:sp>
          <p:nvSpPr>
            <p:cNvPr id="105" name="Freeform: Shape 104">
              <a:extLst>
                <a:ext uri="{FF2B5EF4-FFF2-40B4-BE49-F238E27FC236}">
                  <a16:creationId xmlns:a16="http://schemas.microsoft.com/office/drawing/2014/main" id="{F42B6333-335F-449A-9B72-82778B7BAAF8}"/>
                </a:ext>
              </a:extLst>
            </p:cNvPr>
            <p:cNvSpPr>
              <a:spLocks/>
            </p:cNvSpPr>
            <p:nvPr/>
          </p:nvSpPr>
          <p:spPr bwMode="auto">
            <a:xfrm>
              <a:off x="6768818" y="5134001"/>
              <a:ext cx="319255" cy="399069"/>
            </a:xfrm>
            <a:custGeom>
              <a:avLst/>
              <a:gdLst>
                <a:gd name="connsiteX0" fmla="*/ 123644 w 247650"/>
                <a:gd name="connsiteY0" fmla="*/ 169863 h 309563"/>
                <a:gd name="connsiteX1" fmla="*/ 247650 w 247650"/>
                <a:gd name="connsiteY1" fmla="*/ 293920 h 309563"/>
                <a:gd name="connsiteX2" fmla="*/ 247650 w 247650"/>
                <a:gd name="connsiteY2" fmla="*/ 309563 h 309563"/>
                <a:gd name="connsiteX3" fmla="*/ 0 w 247650"/>
                <a:gd name="connsiteY3" fmla="*/ 309563 h 309563"/>
                <a:gd name="connsiteX4" fmla="*/ 0 w 247650"/>
                <a:gd name="connsiteY4" fmla="*/ 293920 h 309563"/>
                <a:gd name="connsiteX5" fmla="*/ 123644 w 247650"/>
                <a:gd name="connsiteY5" fmla="*/ 169863 h 309563"/>
                <a:gd name="connsiteX6" fmla="*/ 123825 w 247650"/>
                <a:gd name="connsiteY6" fmla="*/ 0 h 309563"/>
                <a:gd name="connsiteX7" fmla="*/ 193675 w 247650"/>
                <a:gd name="connsiteY7" fmla="*/ 69850 h 309563"/>
                <a:gd name="connsiteX8" fmla="*/ 123825 w 247650"/>
                <a:gd name="connsiteY8" fmla="*/ 139700 h 309563"/>
                <a:gd name="connsiteX9" fmla="*/ 53975 w 247650"/>
                <a:gd name="connsiteY9" fmla="*/ 69850 h 309563"/>
                <a:gd name="connsiteX10" fmla="*/ 123825 w 247650"/>
                <a:gd name="connsiteY10" fmla="*/ 0 h 309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650" h="309563">
                  <a:moveTo>
                    <a:pt x="123644" y="169863"/>
                  </a:moveTo>
                  <a:cubicBezTo>
                    <a:pt x="192174" y="169863"/>
                    <a:pt x="247650" y="225525"/>
                    <a:pt x="247650" y="293920"/>
                  </a:cubicBezTo>
                  <a:cubicBezTo>
                    <a:pt x="247650" y="309563"/>
                    <a:pt x="247650" y="309563"/>
                    <a:pt x="247650" y="309563"/>
                  </a:cubicBezTo>
                  <a:cubicBezTo>
                    <a:pt x="0" y="309563"/>
                    <a:pt x="0" y="309563"/>
                    <a:pt x="0" y="309563"/>
                  </a:cubicBezTo>
                  <a:cubicBezTo>
                    <a:pt x="0" y="293920"/>
                    <a:pt x="0" y="293920"/>
                    <a:pt x="0" y="293920"/>
                  </a:cubicBezTo>
                  <a:cubicBezTo>
                    <a:pt x="0" y="225525"/>
                    <a:pt x="55476" y="169863"/>
                    <a:pt x="123644" y="169863"/>
                  </a:cubicBezTo>
                  <a:close/>
                  <a:moveTo>
                    <a:pt x="123825" y="0"/>
                  </a:moveTo>
                  <a:cubicBezTo>
                    <a:pt x="162402" y="0"/>
                    <a:pt x="193675" y="31273"/>
                    <a:pt x="193675" y="69850"/>
                  </a:cubicBezTo>
                  <a:cubicBezTo>
                    <a:pt x="193675" y="108427"/>
                    <a:pt x="162402" y="139700"/>
                    <a:pt x="123825" y="139700"/>
                  </a:cubicBezTo>
                  <a:cubicBezTo>
                    <a:pt x="85248" y="139700"/>
                    <a:pt x="53975" y="108427"/>
                    <a:pt x="53975" y="69850"/>
                  </a:cubicBezTo>
                  <a:cubicBezTo>
                    <a:pt x="53975" y="31273"/>
                    <a:pt x="85248" y="0"/>
                    <a:pt x="123825"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00" name="Group 99">
              <a:extLst>
                <a:ext uri="{FF2B5EF4-FFF2-40B4-BE49-F238E27FC236}">
                  <a16:creationId xmlns:a16="http://schemas.microsoft.com/office/drawing/2014/main" id="{F44BCCBE-A823-4EA7-9927-20ACA79EF9C9}"/>
                </a:ext>
              </a:extLst>
            </p:cNvPr>
            <p:cNvGrpSpPr/>
            <p:nvPr/>
          </p:nvGrpSpPr>
          <p:grpSpPr>
            <a:xfrm>
              <a:off x="6547016" y="5156233"/>
              <a:ext cx="342901" cy="341311"/>
              <a:chOff x="5630497" y="1532083"/>
              <a:chExt cx="342901" cy="341311"/>
            </a:xfrm>
          </p:grpSpPr>
          <p:sp>
            <p:nvSpPr>
              <p:cNvPr id="101" name="Freeform 88">
                <a:extLst>
                  <a:ext uri="{FF2B5EF4-FFF2-40B4-BE49-F238E27FC236}">
                    <a16:creationId xmlns:a16="http://schemas.microsoft.com/office/drawing/2014/main" id="{FF1C62D1-B20D-4F37-955D-1EF673CD8DB0}"/>
                  </a:ext>
                </a:extLst>
              </p:cNvPr>
              <p:cNvSpPr>
                <a:spLocks noEditPoints="1"/>
              </p:cNvSpPr>
              <p:nvPr/>
            </p:nvSpPr>
            <p:spPr bwMode="auto">
              <a:xfrm>
                <a:off x="5630497" y="1532083"/>
                <a:ext cx="247650" cy="247650"/>
              </a:xfrm>
              <a:custGeom>
                <a:avLst/>
                <a:gdLst>
                  <a:gd name="T0" fmla="*/ 341 w 683"/>
                  <a:gd name="T1" fmla="*/ 128 h 682"/>
                  <a:gd name="T2" fmla="*/ 492 w 683"/>
                  <a:gd name="T3" fmla="*/ 190 h 682"/>
                  <a:gd name="T4" fmla="*/ 555 w 683"/>
                  <a:gd name="T5" fmla="*/ 341 h 682"/>
                  <a:gd name="T6" fmla="*/ 492 w 683"/>
                  <a:gd name="T7" fmla="*/ 492 h 682"/>
                  <a:gd name="T8" fmla="*/ 341 w 683"/>
                  <a:gd name="T9" fmla="*/ 554 h 682"/>
                  <a:gd name="T10" fmla="*/ 190 w 683"/>
                  <a:gd name="T11" fmla="*/ 492 h 682"/>
                  <a:gd name="T12" fmla="*/ 128 w 683"/>
                  <a:gd name="T13" fmla="*/ 341 h 682"/>
                  <a:gd name="T14" fmla="*/ 190 w 683"/>
                  <a:gd name="T15" fmla="*/ 190 h 682"/>
                  <a:gd name="T16" fmla="*/ 341 w 683"/>
                  <a:gd name="T17" fmla="*/ 128 h 682"/>
                  <a:gd name="T18" fmla="*/ 341 w 683"/>
                  <a:gd name="T19" fmla="*/ 0 h 682"/>
                  <a:gd name="T20" fmla="*/ 0 w 683"/>
                  <a:gd name="T21" fmla="*/ 341 h 682"/>
                  <a:gd name="T22" fmla="*/ 341 w 683"/>
                  <a:gd name="T23" fmla="*/ 682 h 682"/>
                  <a:gd name="T24" fmla="*/ 683 w 683"/>
                  <a:gd name="T25" fmla="*/ 341 h 682"/>
                  <a:gd name="T26" fmla="*/ 341 w 683"/>
                  <a:gd name="T27" fmla="*/ 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3" h="682">
                    <a:moveTo>
                      <a:pt x="341" y="128"/>
                    </a:moveTo>
                    <a:cubicBezTo>
                      <a:pt x="398" y="128"/>
                      <a:pt x="452" y="150"/>
                      <a:pt x="492" y="190"/>
                    </a:cubicBezTo>
                    <a:cubicBezTo>
                      <a:pt x="532" y="230"/>
                      <a:pt x="555" y="284"/>
                      <a:pt x="555" y="341"/>
                    </a:cubicBezTo>
                    <a:cubicBezTo>
                      <a:pt x="555" y="398"/>
                      <a:pt x="532" y="452"/>
                      <a:pt x="492" y="492"/>
                    </a:cubicBezTo>
                    <a:cubicBezTo>
                      <a:pt x="452" y="532"/>
                      <a:pt x="398" y="554"/>
                      <a:pt x="341" y="554"/>
                    </a:cubicBezTo>
                    <a:cubicBezTo>
                      <a:pt x="284" y="554"/>
                      <a:pt x="231" y="532"/>
                      <a:pt x="190" y="492"/>
                    </a:cubicBezTo>
                    <a:cubicBezTo>
                      <a:pt x="150" y="452"/>
                      <a:pt x="128" y="398"/>
                      <a:pt x="128" y="341"/>
                    </a:cubicBezTo>
                    <a:cubicBezTo>
                      <a:pt x="128" y="284"/>
                      <a:pt x="150" y="230"/>
                      <a:pt x="190" y="190"/>
                    </a:cubicBezTo>
                    <a:cubicBezTo>
                      <a:pt x="231" y="150"/>
                      <a:pt x="284" y="128"/>
                      <a:pt x="341" y="128"/>
                    </a:cubicBezTo>
                    <a:moveTo>
                      <a:pt x="341" y="0"/>
                    </a:moveTo>
                    <a:cubicBezTo>
                      <a:pt x="153" y="0"/>
                      <a:pt x="0" y="152"/>
                      <a:pt x="0" y="341"/>
                    </a:cubicBezTo>
                    <a:cubicBezTo>
                      <a:pt x="0" y="530"/>
                      <a:pt x="153" y="682"/>
                      <a:pt x="341" y="682"/>
                    </a:cubicBezTo>
                    <a:cubicBezTo>
                      <a:pt x="530" y="682"/>
                      <a:pt x="683" y="530"/>
                      <a:pt x="683" y="341"/>
                    </a:cubicBezTo>
                    <a:cubicBezTo>
                      <a:pt x="683" y="152"/>
                      <a:pt x="530" y="0"/>
                      <a:pt x="341"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2" name="Freeform 89">
                <a:extLst>
                  <a:ext uri="{FF2B5EF4-FFF2-40B4-BE49-F238E27FC236}">
                    <a16:creationId xmlns:a16="http://schemas.microsoft.com/office/drawing/2014/main" id="{895125F0-11F6-4C9A-8D0C-CCF1A14D9368}"/>
                  </a:ext>
                </a:extLst>
              </p:cNvPr>
              <p:cNvSpPr>
                <a:spLocks/>
              </p:cNvSpPr>
              <p:nvPr/>
            </p:nvSpPr>
            <p:spPr bwMode="auto">
              <a:xfrm>
                <a:off x="5808298" y="1708294"/>
                <a:ext cx="165100" cy="165100"/>
              </a:xfrm>
              <a:custGeom>
                <a:avLst/>
                <a:gdLst>
                  <a:gd name="T0" fmla="*/ 104 w 104"/>
                  <a:gd name="T1" fmla="*/ 83 h 104"/>
                  <a:gd name="T2" fmla="*/ 83 w 104"/>
                  <a:gd name="T3" fmla="*/ 104 h 104"/>
                  <a:gd name="T4" fmla="*/ 0 w 104"/>
                  <a:gd name="T5" fmla="*/ 21 h 104"/>
                  <a:gd name="T6" fmla="*/ 21 w 104"/>
                  <a:gd name="T7" fmla="*/ 0 h 104"/>
                  <a:gd name="T8" fmla="*/ 104 w 104"/>
                  <a:gd name="T9" fmla="*/ 83 h 104"/>
                </a:gdLst>
                <a:ahLst/>
                <a:cxnLst>
                  <a:cxn ang="0">
                    <a:pos x="T0" y="T1"/>
                  </a:cxn>
                  <a:cxn ang="0">
                    <a:pos x="T2" y="T3"/>
                  </a:cxn>
                  <a:cxn ang="0">
                    <a:pos x="T4" y="T5"/>
                  </a:cxn>
                  <a:cxn ang="0">
                    <a:pos x="T6" y="T7"/>
                  </a:cxn>
                  <a:cxn ang="0">
                    <a:pos x="T8" y="T9"/>
                  </a:cxn>
                </a:cxnLst>
                <a:rect l="0" t="0" r="r" b="b"/>
                <a:pathLst>
                  <a:path w="104" h="104">
                    <a:moveTo>
                      <a:pt x="104" y="83"/>
                    </a:moveTo>
                    <a:lnTo>
                      <a:pt x="83" y="104"/>
                    </a:lnTo>
                    <a:lnTo>
                      <a:pt x="0" y="21"/>
                    </a:lnTo>
                    <a:lnTo>
                      <a:pt x="21" y="0"/>
                    </a:lnTo>
                    <a:lnTo>
                      <a:pt x="104" y="8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cxnSp>
        <p:nvCxnSpPr>
          <p:cNvPr id="119" name="Straight Arrow Connector 118">
            <a:extLst>
              <a:ext uri="{FF2B5EF4-FFF2-40B4-BE49-F238E27FC236}">
                <a16:creationId xmlns:a16="http://schemas.microsoft.com/office/drawing/2014/main" id="{432DF44D-5FA5-47A7-84B2-EDC1E0AD51EF}"/>
              </a:ext>
            </a:extLst>
          </p:cNvPr>
          <p:cNvCxnSpPr>
            <a:cxnSpLocks/>
          </p:cNvCxnSpPr>
          <p:nvPr/>
        </p:nvCxnSpPr>
        <p:spPr>
          <a:xfrm>
            <a:off x="6813105" y="3219619"/>
            <a:ext cx="117087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60505916-1A6A-4A29-8FC2-940C53B519B2}"/>
              </a:ext>
            </a:extLst>
          </p:cNvPr>
          <p:cNvSpPr/>
          <p:nvPr/>
        </p:nvSpPr>
        <p:spPr bwMode="auto">
          <a:xfrm>
            <a:off x="3247289" y="1899340"/>
            <a:ext cx="1316360" cy="276999"/>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Semibold"/>
                <a:ea typeface="+mn-ea"/>
                <a:cs typeface="Segoe UI Semibold" panose="020B0702040204020203" pitchFamily="34" charset="0"/>
              </a:rPr>
              <a:t>Azure Functions</a:t>
            </a:r>
          </a:p>
        </p:txBody>
      </p:sp>
      <p:cxnSp>
        <p:nvCxnSpPr>
          <p:cNvPr id="95" name="Straight Arrow Connector 94">
            <a:extLst>
              <a:ext uri="{FF2B5EF4-FFF2-40B4-BE49-F238E27FC236}">
                <a16:creationId xmlns:a16="http://schemas.microsoft.com/office/drawing/2014/main" id="{429DD610-BE3C-4FCB-A19B-996DEA28CA9E}"/>
              </a:ext>
            </a:extLst>
          </p:cNvPr>
          <p:cNvCxnSpPr>
            <a:cxnSpLocks/>
          </p:cNvCxnSpPr>
          <p:nvPr/>
        </p:nvCxnSpPr>
        <p:spPr>
          <a:xfrm>
            <a:off x="4563649" y="3219619"/>
            <a:ext cx="97421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97" name="Group 96">
            <a:extLst>
              <a:ext uri="{FF2B5EF4-FFF2-40B4-BE49-F238E27FC236}">
                <a16:creationId xmlns:a16="http://schemas.microsoft.com/office/drawing/2014/main" id="{EC991023-2D8E-47B0-93AD-3E82607136AB}"/>
              </a:ext>
            </a:extLst>
          </p:cNvPr>
          <p:cNvGrpSpPr>
            <a:grpSpLocks noChangeAspect="1"/>
          </p:cNvGrpSpPr>
          <p:nvPr/>
        </p:nvGrpSpPr>
        <p:grpSpPr>
          <a:xfrm>
            <a:off x="3409207" y="2834200"/>
            <a:ext cx="992524" cy="832528"/>
            <a:chOff x="9870056" y="5484630"/>
            <a:chExt cx="1306924" cy="1096251"/>
          </a:xfrm>
          <a:solidFill>
            <a:schemeClr val="accent2"/>
          </a:solidFill>
        </p:grpSpPr>
        <p:sp>
          <p:nvSpPr>
            <p:cNvPr id="98" name="Freeform: Shape 97">
              <a:extLst>
                <a:ext uri="{FF2B5EF4-FFF2-40B4-BE49-F238E27FC236}">
                  <a16:creationId xmlns:a16="http://schemas.microsoft.com/office/drawing/2014/main" id="{82AE34E9-EA52-45EC-9D4B-BA459F5A5FF6}"/>
                </a:ext>
              </a:extLst>
            </p:cNvPr>
            <p:cNvSpPr/>
            <p:nvPr/>
          </p:nvSpPr>
          <p:spPr bwMode="auto">
            <a:xfrm>
              <a:off x="10260648" y="5484630"/>
              <a:ext cx="562988" cy="1096251"/>
            </a:xfrm>
            <a:custGeom>
              <a:avLst/>
              <a:gdLst>
                <a:gd name="connsiteX0" fmla="*/ 189522 w 562988"/>
                <a:gd name="connsiteY0" fmla="*/ 0 h 1096251"/>
                <a:gd name="connsiteX1" fmla="*/ 546266 w 562988"/>
                <a:gd name="connsiteY1" fmla="*/ 0 h 1096251"/>
                <a:gd name="connsiteX2" fmla="*/ 323300 w 562988"/>
                <a:gd name="connsiteY2" fmla="*/ 372838 h 1096251"/>
                <a:gd name="connsiteX3" fmla="*/ 562988 w 562988"/>
                <a:gd name="connsiteY3" fmla="*/ 372838 h 1096251"/>
                <a:gd name="connsiteX4" fmla="*/ 44595 w 562988"/>
                <a:gd name="connsiteY4" fmla="*/ 1096251 h 1096251"/>
                <a:gd name="connsiteX5" fmla="*/ 239688 w 562988"/>
                <a:gd name="connsiteY5" fmla="*/ 556474 h 1096251"/>
                <a:gd name="connsiteX6" fmla="*/ 0 w 562988"/>
                <a:gd name="connsiteY6" fmla="*/ 556474 h 1096251"/>
                <a:gd name="connsiteX7" fmla="*/ 189522 w 562988"/>
                <a:gd name="connsiteY7" fmla="*/ 0 h 1096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988" h="1096251">
                  <a:moveTo>
                    <a:pt x="189522" y="0"/>
                  </a:moveTo>
                  <a:lnTo>
                    <a:pt x="546266" y="0"/>
                  </a:lnTo>
                  <a:lnTo>
                    <a:pt x="323300" y="372838"/>
                  </a:lnTo>
                  <a:lnTo>
                    <a:pt x="562988" y="372838"/>
                  </a:lnTo>
                  <a:lnTo>
                    <a:pt x="44595" y="1096251"/>
                  </a:lnTo>
                  <a:lnTo>
                    <a:pt x="239688" y="556474"/>
                  </a:lnTo>
                  <a:lnTo>
                    <a:pt x="0" y="556474"/>
                  </a:lnTo>
                  <a:lnTo>
                    <a:pt x="189522" y="0"/>
                  </a:lnTo>
                  <a:close/>
                </a:path>
              </a:pathLst>
            </a:cu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Freeform: Shape 98">
              <a:extLst>
                <a:ext uri="{FF2B5EF4-FFF2-40B4-BE49-F238E27FC236}">
                  <a16:creationId xmlns:a16="http://schemas.microsoft.com/office/drawing/2014/main" id="{E017ACC6-D1C7-4CDC-BC21-D6EE3AFA120B}"/>
                </a:ext>
              </a:extLst>
            </p:cNvPr>
            <p:cNvSpPr/>
            <p:nvPr/>
          </p:nvSpPr>
          <p:spPr bwMode="auto">
            <a:xfrm>
              <a:off x="9870056" y="5653563"/>
              <a:ext cx="1306924" cy="701050"/>
            </a:xfrm>
            <a:custGeom>
              <a:avLst/>
              <a:gdLst>
                <a:gd name="connsiteX0" fmla="*/ 974061 w 1306924"/>
                <a:gd name="connsiteY0" fmla="*/ 0 h 701050"/>
                <a:gd name="connsiteX1" fmla="*/ 1294434 w 1306924"/>
                <a:gd name="connsiteY1" fmla="*/ 320375 h 701050"/>
                <a:gd name="connsiteX2" fmla="*/ 1294434 w 1306924"/>
                <a:gd name="connsiteY2" fmla="*/ 380677 h 701050"/>
                <a:gd name="connsiteX3" fmla="*/ 974061 w 1306924"/>
                <a:gd name="connsiteY3" fmla="*/ 701050 h 701050"/>
                <a:gd name="connsiteX4" fmla="*/ 916332 w 1306924"/>
                <a:gd name="connsiteY4" fmla="*/ 643318 h 701050"/>
                <a:gd name="connsiteX5" fmla="*/ 1209123 w 1306924"/>
                <a:gd name="connsiteY5" fmla="*/ 350525 h 701050"/>
                <a:gd name="connsiteX6" fmla="*/ 916332 w 1306924"/>
                <a:gd name="connsiteY6" fmla="*/ 57731 h 701050"/>
                <a:gd name="connsiteX7" fmla="*/ 332862 w 1306924"/>
                <a:gd name="connsiteY7" fmla="*/ 0 h 701050"/>
                <a:gd name="connsiteX8" fmla="*/ 390593 w 1306924"/>
                <a:gd name="connsiteY8" fmla="*/ 57731 h 701050"/>
                <a:gd name="connsiteX9" fmla="*/ 97799 w 1306924"/>
                <a:gd name="connsiteY9" fmla="*/ 350525 h 701050"/>
                <a:gd name="connsiteX10" fmla="*/ 390593 w 1306924"/>
                <a:gd name="connsiteY10" fmla="*/ 643318 h 701050"/>
                <a:gd name="connsiteX11" fmla="*/ 332862 w 1306924"/>
                <a:gd name="connsiteY11" fmla="*/ 701050 h 701050"/>
                <a:gd name="connsiteX12" fmla="*/ 12488 w 1306924"/>
                <a:gd name="connsiteY12" fmla="*/ 380677 h 701050"/>
                <a:gd name="connsiteX13" fmla="*/ 12488 w 1306924"/>
                <a:gd name="connsiteY13" fmla="*/ 320375 h 70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6924" h="701050">
                  <a:moveTo>
                    <a:pt x="974061" y="0"/>
                  </a:moveTo>
                  <a:lnTo>
                    <a:pt x="1294434" y="320375"/>
                  </a:lnTo>
                  <a:cubicBezTo>
                    <a:pt x="1311088" y="337026"/>
                    <a:pt x="1311088" y="364023"/>
                    <a:pt x="1294434" y="380677"/>
                  </a:cubicBezTo>
                  <a:lnTo>
                    <a:pt x="974061" y="701050"/>
                  </a:lnTo>
                  <a:lnTo>
                    <a:pt x="916332" y="643318"/>
                  </a:lnTo>
                  <a:lnTo>
                    <a:pt x="1209123" y="350525"/>
                  </a:lnTo>
                  <a:lnTo>
                    <a:pt x="916332" y="57731"/>
                  </a:lnTo>
                  <a:close/>
                  <a:moveTo>
                    <a:pt x="332862" y="0"/>
                  </a:moveTo>
                  <a:lnTo>
                    <a:pt x="390593" y="57731"/>
                  </a:lnTo>
                  <a:lnTo>
                    <a:pt x="97799" y="350525"/>
                  </a:lnTo>
                  <a:lnTo>
                    <a:pt x="390593" y="643318"/>
                  </a:lnTo>
                  <a:lnTo>
                    <a:pt x="332862" y="701050"/>
                  </a:lnTo>
                  <a:lnTo>
                    <a:pt x="12488" y="380677"/>
                  </a:lnTo>
                  <a:cubicBezTo>
                    <a:pt x="-4163" y="364023"/>
                    <a:pt x="-4163" y="337026"/>
                    <a:pt x="12488" y="320375"/>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7" name="Straight Arrow Connector 16">
            <a:extLst>
              <a:ext uri="{FF2B5EF4-FFF2-40B4-BE49-F238E27FC236}">
                <a16:creationId xmlns:a16="http://schemas.microsoft.com/office/drawing/2014/main" id="{9081C8E5-979E-4946-931F-52C3BEF1E02E}"/>
              </a:ext>
            </a:extLst>
          </p:cNvPr>
          <p:cNvCxnSpPr>
            <a:cxnSpLocks/>
          </p:cNvCxnSpPr>
          <p:nvPr/>
        </p:nvCxnSpPr>
        <p:spPr>
          <a:xfrm>
            <a:off x="6208134" y="3745425"/>
            <a:ext cx="0" cy="323205"/>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3" name="Group 206">
            <a:extLst>
              <a:ext uri="{FF2B5EF4-FFF2-40B4-BE49-F238E27FC236}">
                <a16:creationId xmlns:a16="http://schemas.microsoft.com/office/drawing/2014/main" id="{D9F43562-CB7E-487B-961D-A6A24F14E77C}"/>
              </a:ext>
            </a:extLst>
          </p:cNvPr>
          <p:cNvGrpSpPr>
            <a:grpSpLocks noChangeAspect="1"/>
          </p:cNvGrpSpPr>
          <p:nvPr/>
        </p:nvGrpSpPr>
        <p:grpSpPr bwMode="auto">
          <a:xfrm>
            <a:off x="1346239" y="3415625"/>
            <a:ext cx="523308" cy="333014"/>
            <a:chOff x="6740" y="1489"/>
            <a:chExt cx="264" cy="168"/>
          </a:xfrm>
          <a:solidFill>
            <a:schemeClr val="accent1"/>
          </a:solidFill>
        </p:grpSpPr>
        <p:sp>
          <p:nvSpPr>
            <p:cNvPr id="124" name="Freeform 207">
              <a:extLst>
                <a:ext uri="{FF2B5EF4-FFF2-40B4-BE49-F238E27FC236}">
                  <a16:creationId xmlns:a16="http://schemas.microsoft.com/office/drawing/2014/main" id="{E58C2C33-A342-418E-ADBB-06FE2DFDC423}"/>
                </a:ext>
              </a:extLst>
            </p:cNvPr>
            <p:cNvSpPr>
              <a:spLocks noEditPoints="1"/>
            </p:cNvSpPr>
            <p:nvPr/>
          </p:nvSpPr>
          <p:spPr bwMode="auto">
            <a:xfrm>
              <a:off x="6740" y="1489"/>
              <a:ext cx="264" cy="149"/>
            </a:xfrm>
            <a:custGeom>
              <a:avLst/>
              <a:gdLst>
                <a:gd name="T0" fmla="*/ 186 w 426"/>
                <a:gd name="T1" fmla="*/ 80 h 240"/>
                <a:gd name="T2" fmla="*/ 186 w 426"/>
                <a:gd name="T3" fmla="*/ 80 h 240"/>
                <a:gd name="T4" fmla="*/ 186 w 426"/>
                <a:gd name="T5" fmla="*/ 27 h 240"/>
                <a:gd name="T6" fmla="*/ 242 w 426"/>
                <a:gd name="T7" fmla="*/ 27 h 240"/>
                <a:gd name="T8" fmla="*/ 251 w 426"/>
                <a:gd name="T9" fmla="*/ 31 h 240"/>
                <a:gd name="T10" fmla="*/ 301 w 426"/>
                <a:gd name="T11" fmla="*/ 80 h 240"/>
                <a:gd name="T12" fmla="*/ 186 w 426"/>
                <a:gd name="T13" fmla="*/ 80 h 240"/>
                <a:gd name="T14" fmla="*/ 159 w 426"/>
                <a:gd name="T15" fmla="*/ 80 h 240"/>
                <a:gd name="T16" fmla="*/ 159 w 426"/>
                <a:gd name="T17" fmla="*/ 80 h 240"/>
                <a:gd name="T18" fmla="*/ 64 w 426"/>
                <a:gd name="T19" fmla="*/ 80 h 240"/>
                <a:gd name="T20" fmla="*/ 84 w 426"/>
                <a:gd name="T21" fmla="*/ 35 h 240"/>
                <a:gd name="T22" fmla="*/ 90 w 426"/>
                <a:gd name="T23" fmla="*/ 29 h 240"/>
                <a:gd name="T24" fmla="*/ 97 w 426"/>
                <a:gd name="T25" fmla="*/ 27 h 240"/>
                <a:gd name="T26" fmla="*/ 159 w 426"/>
                <a:gd name="T27" fmla="*/ 27 h 240"/>
                <a:gd name="T28" fmla="*/ 159 w 426"/>
                <a:gd name="T29" fmla="*/ 80 h 240"/>
                <a:gd name="T30" fmla="*/ 420 w 426"/>
                <a:gd name="T31" fmla="*/ 129 h 240"/>
                <a:gd name="T32" fmla="*/ 420 w 426"/>
                <a:gd name="T33" fmla="*/ 129 h 240"/>
                <a:gd name="T34" fmla="*/ 403 w 426"/>
                <a:gd name="T35" fmla="*/ 104 h 240"/>
                <a:gd name="T36" fmla="*/ 377 w 426"/>
                <a:gd name="T37" fmla="*/ 87 h 240"/>
                <a:gd name="T38" fmla="*/ 346 w 426"/>
                <a:gd name="T39" fmla="*/ 80 h 240"/>
                <a:gd name="T40" fmla="*/ 338 w 426"/>
                <a:gd name="T41" fmla="*/ 80 h 240"/>
                <a:gd name="T42" fmla="*/ 270 w 426"/>
                <a:gd name="T43" fmla="*/ 12 h 240"/>
                <a:gd name="T44" fmla="*/ 257 w 426"/>
                <a:gd name="T45" fmla="*/ 3 h 240"/>
                <a:gd name="T46" fmla="*/ 242 w 426"/>
                <a:gd name="T47" fmla="*/ 0 h 240"/>
                <a:gd name="T48" fmla="*/ 53 w 426"/>
                <a:gd name="T49" fmla="*/ 0 h 240"/>
                <a:gd name="T50" fmla="*/ 53 w 426"/>
                <a:gd name="T51" fmla="*/ 27 h 240"/>
                <a:gd name="T52" fmla="*/ 59 w 426"/>
                <a:gd name="T53" fmla="*/ 27 h 240"/>
                <a:gd name="T54" fmla="*/ 6 w 426"/>
                <a:gd name="T55" fmla="*/ 144 h 240"/>
                <a:gd name="T56" fmla="*/ 0 w 426"/>
                <a:gd name="T57" fmla="*/ 172 h 240"/>
                <a:gd name="T58" fmla="*/ 0 w 426"/>
                <a:gd name="T59" fmla="*/ 187 h 240"/>
                <a:gd name="T60" fmla="*/ 2 w 426"/>
                <a:gd name="T61" fmla="*/ 204 h 240"/>
                <a:gd name="T62" fmla="*/ 8 w 426"/>
                <a:gd name="T63" fmla="*/ 183 h 240"/>
                <a:gd name="T64" fmla="*/ 24 w 426"/>
                <a:gd name="T65" fmla="*/ 159 h 240"/>
                <a:gd name="T66" fmla="*/ 49 w 426"/>
                <a:gd name="T67" fmla="*/ 142 h 240"/>
                <a:gd name="T68" fmla="*/ 79 w 426"/>
                <a:gd name="T69" fmla="*/ 136 h 240"/>
                <a:gd name="T70" fmla="*/ 110 w 426"/>
                <a:gd name="T71" fmla="*/ 142 h 240"/>
                <a:gd name="T72" fmla="*/ 135 w 426"/>
                <a:gd name="T73" fmla="*/ 159 h 240"/>
                <a:gd name="T74" fmla="*/ 151 w 426"/>
                <a:gd name="T75" fmla="*/ 183 h 240"/>
                <a:gd name="T76" fmla="*/ 157 w 426"/>
                <a:gd name="T77" fmla="*/ 214 h 240"/>
                <a:gd name="T78" fmla="*/ 153 w 426"/>
                <a:gd name="T79" fmla="*/ 240 h 240"/>
                <a:gd name="T80" fmla="*/ 246 w 426"/>
                <a:gd name="T81" fmla="*/ 240 h 240"/>
                <a:gd name="T82" fmla="*/ 242 w 426"/>
                <a:gd name="T83" fmla="*/ 214 h 240"/>
                <a:gd name="T84" fmla="*/ 248 w 426"/>
                <a:gd name="T85" fmla="*/ 183 h 240"/>
                <a:gd name="T86" fmla="*/ 264 w 426"/>
                <a:gd name="T87" fmla="*/ 159 h 240"/>
                <a:gd name="T88" fmla="*/ 289 w 426"/>
                <a:gd name="T89" fmla="*/ 142 h 240"/>
                <a:gd name="T90" fmla="*/ 319 w 426"/>
                <a:gd name="T91" fmla="*/ 136 h 240"/>
                <a:gd name="T92" fmla="*/ 350 w 426"/>
                <a:gd name="T93" fmla="*/ 142 h 240"/>
                <a:gd name="T94" fmla="*/ 375 w 426"/>
                <a:gd name="T95" fmla="*/ 159 h 240"/>
                <a:gd name="T96" fmla="*/ 391 w 426"/>
                <a:gd name="T97" fmla="*/ 183 h 240"/>
                <a:gd name="T98" fmla="*/ 397 w 426"/>
                <a:gd name="T99" fmla="*/ 214 h 240"/>
                <a:gd name="T100" fmla="*/ 393 w 426"/>
                <a:gd name="T101" fmla="*/ 240 h 240"/>
                <a:gd name="T102" fmla="*/ 399 w 426"/>
                <a:gd name="T103" fmla="*/ 240 h 240"/>
                <a:gd name="T104" fmla="*/ 410 w 426"/>
                <a:gd name="T105" fmla="*/ 238 h 240"/>
                <a:gd name="T106" fmla="*/ 418 w 426"/>
                <a:gd name="T107" fmla="*/ 233 h 240"/>
                <a:gd name="T108" fmla="*/ 424 w 426"/>
                <a:gd name="T109" fmla="*/ 224 h 240"/>
                <a:gd name="T110" fmla="*/ 426 w 426"/>
                <a:gd name="T111" fmla="*/ 214 h 240"/>
                <a:gd name="T112" fmla="*/ 426 w 426"/>
                <a:gd name="T113" fmla="*/ 160 h 240"/>
                <a:gd name="T114" fmla="*/ 420 w 426"/>
                <a:gd name="T115" fmla="*/ 129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26" h="240">
                  <a:moveTo>
                    <a:pt x="186" y="80"/>
                  </a:moveTo>
                  <a:lnTo>
                    <a:pt x="186" y="80"/>
                  </a:lnTo>
                  <a:lnTo>
                    <a:pt x="186" y="27"/>
                  </a:lnTo>
                  <a:lnTo>
                    <a:pt x="242" y="27"/>
                  </a:lnTo>
                  <a:cubicBezTo>
                    <a:pt x="245" y="27"/>
                    <a:pt x="249" y="28"/>
                    <a:pt x="251" y="31"/>
                  </a:cubicBezTo>
                  <a:lnTo>
                    <a:pt x="301" y="80"/>
                  </a:lnTo>
                  <a:lnTo>
                    <a:pt x="186" y="80"/>
                  </a:lnTo>
                  <a:close/>
                  <a:moveTo>
                    <a:pt x="159" y="80"/>
                  </a:moveTo>
                  <a:lnTo>
                    <a:pt x="159" y="80"/>
                  </a:lnTo>
                  <a:lnTo>
                    <a:pt x="64" y="80"/>
                  </a:lnTo>
                  <a:lnTo>
                    <a:pt x="84" y="35"/>
                  </a:lnTo>
                  <a:cubicBezTo>
                    <a:pt x="86" y="32"/>
                    <a:pt x="87" y="31"/>
                    <a:pt x="90" y="29"/>
                  </a:cubicBezTo>
                  <a:cubicBezTo>
                    <a:pt x="92" y="28"/>
                    <a:pt x="94" y="27"/>
                    <a:pt x="97" y="27"/>
                  </a:cubicBezTo>
                  <a:lnTo>
                    <a:pt x="159" y="27"/>
                  </a:lnTo>
                  <a:lnTo>
                    <a:pt x="159" y="80"/>
                  </a:lnTo>
                  <a:close/>
                  <a:moveTo>
                    <a:pt x="420" y="129"/>
                  </a:moveTo>
                  <a:lnTo>
                    <a:pt x="420" y="129"/>
                  </a:lnTo>
                  <a:cubicBezTo>
                    <a:pt x="416" y="119"/>
                    <a:pt x="410" y="111"/>
                    <a:pt x="403" y="104"/>
                  </a:cubicBezTo>
                  <a:cubicBezTo>
                    <a:pt x="396" y="97"/>
                    <a:pt x="387" y="91"/>
                    <a:pt x="377" y="87"/>
                  </a:cubicBezTo>
                  <a:cubicBezTo>
                    <a:pt x="368" y="82"/>
                    <a:pt x="357" y="80"/>
                    <a:pt x="346" y="80"/>
                  </a:cubicBezTo>
                  <a:lnTo>
                    <a:pt x="338" y="80"/>
                  </a:lnTo>
                  <a:lnTo>
                    <a:pt x="270" y="12"/>
                  </a:lnTo>
                  <a:cubicBezTo>
                    <a:pt x="266" y="8"/>
                    <a:pt x="262" y="5"/>
                    <a:pt x="257" y="3"/>
                  </a:cubicBezTo>
                  <a:cubicBezTo>
                    <a:pt x="252" y="1"/>
                    <a:pt x="247" y="0"/>
                    <a:pt x="242" y="0"/>
                  </a:cubicBezTo>
                  <a:lnTo>
                    <a:pt x="53" y="0"/>
                  </a:lnTo>
                  <a:lnTo>
                    <a:pt x="53" y="27"/>
                  </a:lnTo>
                  <a:lnTo>
                    <a:pt x="59" y="27"/>
                  </a:lnTo>
                  <a:lnTo>
                    <a:pt x="6" y="144"/>
                  </a:lnTo>
                  <a:cubicBezTo>
                    <a:pt x="2" y="153"/>
                    <a:pt x="0" y="162"/>
                    <a:pt x="0" y="172"/>
                  </a:cubicBezTo>
                  <a:lnTo>
                    <a:pt x="0" y="187"/>
                  </a:lnTo>
                  <a:cubicBezTo>
                    <a:pt x="0" y="193"/>
                    <a:pt x="0" y="198"/>
                    <a:pt x="2" y="204"/>
                  </a:cubicBezTo>
                  <a:cubicBezTo>
                    <a:pt x="3" y="197"/>
                    <a:pt x="5" y="190"/>
                    <a:pt x="8" y="183"/>
                  </a:cubicBezTo>
                  <a:cubicBezTo>
                    <a:pt x="12" y="174"/>
                    <a:pt x="17" y="166"/>
                    <a:pt x="24" y="159"/>
                  </a:cubicBezTo>
                  <a:cubicBezTo>
                    <a:pt x="31" y="152"/>
                    <a:pt x="40" y="146"/>
                    <a:pt x="49" y="142"/>
                  </a:cubicBezTo>
                  <a:cubicBezTo>
                    <a:pt x="58" y="138"/>
                    <a:pt x="69" y="136"/>
                    <a:pt x="79" y="136"/>
                  </a:cubicBezTo>
                  <a:cubicBezTo>
                    <a:pt x="90" y="136"/>
                    <a:pt x="101" y="138"/>
                    <a:pt x="110" y="142"/>
                  </a:cubicBezTo>
                  <a:cubicBezTo>
                    <a:pt x="119" y="146"/>
                    <a:pt x="128" y="152"/>
                    <a:pt x="135" y="159"/>
                  </a:cubicBezTo>
                  <a:cubicBezTo>
                    <a:pt x="142" y="166"/>
                    <a:pt x="147" y="174"/>
                    <a:pt x="151" y="183"/>
                  </a:cubicBezTo>
                  <a:cubicBezTo>
                    <a:pt x="155" y="193"/>
                    <a:pt x="157" y="203"/>
                    <a:pt x="157" y="214"/>
                  </a:cubicBezTo>
                  <a:cubicBezTo>
                    <a:pt x="157" y="223"/>
                    <a:pt x="156" y="232"/>
                    <a:pt x="153" y="240"/>
                  </a:cubicBezTo>
                  <a:lnTo>
                    <a:pt x="246" y="240"/>
                  </a:lnTo>
                  <a:cubicBezTo>
                    <a:pt x="243" y="232"/>
                    <a:pt x="242" y="223"/>
                    <a:pt x="242" y="214"/>
                  </a:cubicBezTo>
                  <a:cubicBezTo>
                    <a:pt x="242" y="203"/>
                    <a:pt x="244" y="193"/>
                    <a:pt x="248" y="183"/>
                  </a:cubicBezTo>
                  <a:cubicBezTo>
                    <a:pt x="252" y="174"/>
                    <a:pt x="257" y="166"/>
                    <a:pt x="264" y="159"/>
                  </a:cubicBezTo>
                  <a:cubicBezTo>
                    <a:pt x="271" y="152"/>
                    <a:pt x="280" y="146"/>
                    <a:pt x="289" y="142"/>
                  </a:cubicBezTo>
                  <a:cubicBezTo>
                    <a:pt x="298" y="138"/>
                    <a:pt x="309" y="136"/>
                    <a:pt x="319" y="136"/>
                  </a:cubicBezTo>
                  <a:cubicBezTo>
                    <a:pt x="330" y="136"/>
                    <a:pt x="341" y="138"/>
                    <a:pt x="350" y="142"/>
                  </a:cubicBezTo>
                  <a:cubicBezTo>
                    <a:pt x="359" y="146"/>
                    <a:pt x="367" y="152"/>
                    <a:pt x="375" y="159"/>
                  </a:cubicBezTo>
                  <a:cubicBezTo>
                    <a:pt x="382" y="166"/>
                    <a:pt x="387" y="174"/>
                    <a:pt x="391" y="183"/>
                  </a:cubicBezTo>
                  <a:cubicBezTo>
                    <a:pt x="395" y="193"/>
                    <a:pt x="397" y="203"/>
                    <a:pt x="397" y="214"/>
                  </a:cubicBezTo>
                  <a:cubicBezTo>
                    <a:pt x="397" y="223"/>
                    <a:pt x="396" y="232"/>
                    <a:pt x="393" y="240"/>
                  </a:cubicBezTo>
                  <a:lnTo>
                    <a:pt x="399" y="240"/>
                  </a:lnTo>
                  <a:cubicBezTo>
                    <a:pt x="403" y="240"/>
                    <a:pt x="407" y="240"/>
                    <a:pt x="410" y="238"/>
                  </a:cubicBezTo>
                  <a:cubicBezTo>
                    <a:pt x="413" y="237"/>
                    <a:pt x="416" y="235"/>
                    <a:pt x="418" y="233"/>
                  </a:cubicBezTo>
                  <a:cubicBezTo>
                    <a:pt x="421" y="230"/>
                    <a:pt x="423" y="227"/>
                    <a:pt x="424" y="224"/>
                  </a:cubicBezTo>
                  <a:cubicBezTo>
                    <a:pt x="425" y="221"/>
                    <a:pt x="426" y="217"/>
                    <a:pt x="426" y="214"/>
                  </a:cubicBezTo>
                  <a:lnTo>
                    <a:pt x="426" y="160"/>
                  </a:lnTo>
                  <a:cubicBezTo>
                    <a:pt x="426" y="149"/>
                    <a:pt x="424" y="139"/>
                    <a:pt x="420" y="12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5" name="Freeform 208">
              <a:extLst>
                <a:ext uri="{FF2B5EF4-FFF2-40B4-BE49-F238E27FC236}">
                  <a16:creationId xmlns:a16="http://schemas.microsoft.com/office/drawing/2014/main" id="{B307FCC2-7CC6-4214-BB58-C55E43F897AF}"/>
                </a:ext>
              </a:extLst>
            </p:cNvPr>
            <p:cNvSpPr>
              <a:spLocks noEditPoints="1"/>
            </p:cNvSpPr>
            <p:nvPr/>
          </p:nvSpPr>
          <p:spPr bwMode="auto">
            <a:xfrm>
              <a:off x="6754" y="1587"/>
              <a:ext cx="70" cy="70"/>
            </a:xfrm>
            <a:prstGeom prst="ellipse">
              <a:avLst/>
            </a:pr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6" name="Freeform 209">
              <a:extLst>
                <a:ext uri="{FF2B5EF4-FFF2-40B4-BE49-F238E27FC236}">
                  <a16:creationId xmlns:a16="http://schemas.microsoft.com/office/drawing/2014/main" id="{18ED1D29-C246-41B4-8957-229101E2C7F4}"/>
                </a:ext>
              </a:extLst>
            </p:cNvPr>
            <p:cNvSpPr>
              <a:spLocks noEditPoints="1"/>
            </p:cNvSpPr>
            <p:nvPr/>
          </p:nvSpPr>
          <p:spPr bwMode="auto">
            <a:xfrm>
              <a:off x="6903" y="1587"/>
              <a:ext cx="70" cy="70"/>
            </a:xfrm>
            <a:prstGeom prst="ellipse">
              <a:avLst/>
            </a:pr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7" name="Freeform 210">
              <a:extLst>
                <a:ext uri="{FF2B5EF4-FFF2-40B4-BE49-F238E27FC236}">
                  <a16:creationId xmlns:a16="http://schemas.microsoft.com/office/drawing/2014/main" id="{CCE6B8FF-5D06-4144-BFA0-C90E77A7F9F0}"/>
                </a:ext>
              </a:extLst>
            </p:cNvPr>
            <p:cNvSpPr>
              <a:spLocks/>
            </p:cNvSpPr>
            <p:nvPr/>
          </p:nvSpPr>
          <p:spPr bwMode="auto">
            <a:xfrm>
              <a:off x="6773" y="1605"/>
              <a:ext cx="33" cy="33"/>
            </a:xfrm>
            <a:prstGeom prst="ellipse">
              <a:avLst/>
            </a:pr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8" name="Freeform 211">
              <a:extLst>
                <a:ext uri="{FF2B5EF4-FFF2-40B4-BE49-F238E27FC236}">
                  <a16:creationId xmlns:a16="http://schemas.microsoft.com/office/drawing/2014/main" id="{834EA680-4F6D-4902-9D53-EAFB8EA7BD12}"/>
                </a:ext>
              </a:extLst>
            </p:cNvPr>
            <p:cNvSpPr>
              <a:spLocks/>
            </p:cNvSpPr>
            <p:nvPr/>
          </p:nvSpPr>
          <p:spPr bwMode="auto">
            <a:xfrm>
              <a:off x="6922" y="1605"/>
              <a:ext cx="33" cy="33"/>
            </a:xfrm>
            <a:prstGeom prst="ellipse">
              <a:avLst/>
            </a:pr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29" name="Group 121">
            <a:extLst>
              <a:ext uri="{FF2B5EF4-FFF2-40B4-BE49-F238E27FC236}">
                <a16:creationId xmlns:a16="http://schemas.microsoft.com/office/drawing/2014/main" id="{EB8186D3-938D-4DC3-99D7-85E315EBBF93}"/>
              </a:ext>
            </a:extLst>
          </p:cNvPr>
          <p:cNvGrpSpPr>
            <a:grpSpLocks noChangeAspect="1"/>
          </p:cNvGrpSpPr>
          <p:nvPr/>
        </p:nvGrpSpPr>
        <p:grpSpPr bwMode="auto">
          <a:xfrm rot="5400000">
            <a:off x="1469415" y="2962464"/>
            <a:ext cx="276956" cy="443130"/>
            <a:chOff x="6473" y="999"/>
            <a:chExt cx="195" cy="312"/>
          </a:xfrm>
        </p:grpSpPr>
        <p:sp>
          <p:nvSpPr>
            <p:cNvPr id="130" name="Rectangle 122">
              <a:extLst>
                <a:ext uri="{FF2B5EF4-FFF2-40B4-BE49-F238E27FC236}">
                  <a16:creationId xmlns:a16="http://schemas.microsoft.com/office/drawing/2014/main" id="{245B6C40-DB84-4879-B997-5D1B82214679}"/>
                </a:ext>
              </a:extLst>
            </p:cNvPr>
            <p:cNvSpPr>
              <a:spLocks noChangeArrowheads="1"/>
            </p:cNvSpPr>
            <p:nvPr/>
          </p:nvSpPr>
          <p:spPr bwMode="auto">
            <a:xfrm>
              <a:off x="6629" y="1058"/>
              <a:ext cx="20" cy="11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1" name="Freeform 123">
              <a:extLst>
                <a:ext uri="{FF2B5EF4-FFF2-40B4-BE49-F238E27FC236}">
                  <a16:creationId xmlns:a16="http://schemas.microsoft.com/office/drawing/2014/main" id="{A16A8CD8-36F3-43A3-8A2D-DD3A9863DDB7}"/>
                </a:ext>
              </a:extLst>
            </p:cNvPr>
            <p:cNvSpPr>
              <a:spLocks/>
            </p:cNvSpPr>
            <p:nvPr/>
          </p:nvSpPr>
          <p:spPr bwMode="auto">
            <a:xfrm>
              <a:off x="6610" y="999"/>
              <a:ext cx="58" cy="68"/>
            </a:xfrm>
            <a:custGeom>
              <a:avLst/>
              <a:gdLst>
                <a:gd name="T0" fmla="*/ 0 w 256"/>
                <a:gd name="T1" fmla="*/ 0 h 299"/>
                <a:gd name="T2" fmla="*/ 0 w 256"/>
                <a:gd name="T3" fmla="*/ 168 h 299"/>
                <a:gd name="T4" fmla="*/ 128 w 256"/>
                <a:gd name="T5" fmla="*/ 299 h 299"/>
                <a:gd name="T6" fmla="*/ 128 w 256"/>
                <a:gd name="T7" fmla="*/ 299 h 299"/>
                <a:gd name="T8" fmla="*/ 256 w 256"/>
                <a:gd name="T9" fmla="*/ 168 h 299"/>
                <a:gd name="T10" fmla="*/ 256 w 256"/>
                <a:gd name="T11" fmla="*/ 0 h 299"/>
                <a:gd name="T12" fmla="*/ 0 w 256"/>
                <a:gd name="T13" fmla="*/ 0 h 299"/>
              </a:gdLst>
              <a:ahLst/>
              <a:cxnLst>
                <a:cxn ang="0">
                  <a:pos x="T0" y="T1"/>
                </a:cxn>
                <a:cxn ang="0">
                  <a:pos x="T2" y="T3"/>
                </a:cxn>
                <a:cxn ang="0">
                  <a:pos x="T4" y="T5"/>
                </a:cxn>
                <a:cxn ang="0">
                  <a:pos x="T6" y="T7"/>
                </a:cxn>
                <a:cxn ang="0">
                  <a:pos x="T8" y="T9"/>
                </a:cxn>
                <a:cxn ang="0">
                  <a:pos x="T10" y="T11"/>
                </a:cxn>
                <a:cxn ang="0">
                  <a:pos x="T12" y="T13"/>
                </a:cxn>
              </a:cxnLst>
              <a:rect l="0" t="0" r="r" b="b"/>
              <a:pathLst>
                <a:path w="256" h="299">
                  <a:moveTo>
                    <a:pt x="0" y="0"/>
                  </a:moveTo>
                  <a:cubicBezTo>
                    <a:pt x="0" y="168"/>
                    <a:pt x="0" y="168"/>
                    <a:pt x="0" y="168"/>
                  </a:cubicBezTo>
                  <a:cubicBezTo>
                    <a:pt x="0" y="240"/>
                    <a:pt x="58" y="299"/>
                    <a:pt x="128" y="299"/>
                  </a:cubicBezTo>
                  <a:cubicBezTo>
                    <a:pt x="128" y="299"/>
                    <a:pt x="128" y="299"/>
                    <a:pt x="128" y="299"/>
                  </a:cubicBezTo>
                  <a:cubicBezTo>
                    <a:pt x="199" y="299"/>
                    <a:pt x="256" y="240"/>
                    <a:pt x="256" y="168"/>
                  </a:cubicBezTo>
                  <a:cubicBezTo>
                    <a:pt x="256" y="0"/>
                    <a:pt x="256" y="0"/>
                    <a:pt x="256"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2" name="Freeform 124">
              <a:extLst>
                <a:ext uri="{FF2B5EF4-FFF2-40B4-BE49-F238E27FC236}">
                  <a16:creationId xmlns:a16="http://schemas.microsoft.com/office/drawing/2014/main" id="{A1CAE7EA-D1E3-4A94-A587-8C41BC118F22}"/>
                </a:ext>
              </a:extLst>
            </p:cNvPr>
            <p:cNvSpPr>
              <a:spLocks/>
            </p:cNvSpPr>
            <p:nvPr/>
          </p:nvSpPr>
          <p:spPr bwMode="auto">
            <a:xfrm>
              <a:off x="6610" y="1165"/>
              <a:ext cx="58" cy="146"/>
            </a:xfrm>
            <a:custGeom>
              <a:avLst/>
              <a:gdLst>
                <a:gd name="T0" fmla="*/ 0 w 256"/>
                <a:gd name="T1" fmla="*/ 0 h 640"/>
                <a:gd name="T2" fmla="*/ 0 w 256"/>
                <a:gd name="T3" fmla="*/ 508 h 640"/>
                <a:gd name="T4" fmla="*/ 128 w 256"/>
                <a:gd name="T5" fmla="*/ 640 h 640"/>
                <a:gd name="T6" fmla="*/ 128 w 256"/>
                <a:gd name="T7" fmla="*/ 640 h 640"/>
                <a:gd name="T8" fmla="*/ 256 w 256"/>
                <a:gd name="T9" fmla="*/ 508 h 640"/>
                <a:gd name="T10" fmla="*/ 256 w 256"/>
                <a:gd name="T11" fmla="*/ 0 h 640"/>
                <a:gd name="T12" fmla="*/ 0 w 256"/>
                <a:gd name="T13" fmla="*/ 0 h 640"/>
              </a:gdLst>
              <a:ahLst/>
              <a:cxnLst>
                <a:cxn ang="0">
                  <a:pos x="T0" y="T1"/>
                </a:cxn>
                <a:cxn ang="0">
                  <a:pos x="T2" y="T3"/>
                </a:cxn>
                <a:cxn ang="0">
                  <a:pos x="T4" y="T5"/>
                </a:cxn>
                <a:cxn ang="0">
                  <a:pos x="T6" y="T7"/>
                </a:cxn>
                <a:cxn ang="0">
                  <a:pos x="T8" y="T9"/>
                </a:cxn>
                <a:cxn ang="0">
                  <a:pos x="T10" y="T11"/>
                </a:cxn>
                <a:cxn ang="0">
                  <a:pos x="T12" y="T13"/>
                </a:cxn>
              </a:cxnLst>
              <a:rect l="0" t="0" r="r" b="b"/>
              <a:pathLst>
                <a:path w="256" h="640">
                  <a:moveTo>
                    <a:pt x="0" y="0"/>
                  </a:moveTo>
                  <a:cubicBezTo>
                    <a:pt x="0" y="508"/>
                    <a:pt x="0" y="508"/>
                    <a:pt x="0" y="508"/>
                  </a:cubicBezTo>
                  <a:cubicBezTo>
                    <a:pt x="0" y="581"/>
                    <a:pt x="58" y="640"/>
                    <a:pt x="128" y="640"/>
                  </a:cubicBezTo>
                  <a:cubicBezTo>
                    <a:pt x="128" y="640"/>
                    <a:pt x="128" y="640"/>
                    <a:pt x="128" y="640"/>
                  </a:cubicBezTo>
                  <a:cubicBezTo>
                    <a:pt x="199" y="640"/>
                    <a:pt x="256" y="581"/>
                    <a:pt x="256" y="508"/>
                  </a:cubicBezTo>
                  <a:cubicBezTo>
                    <a:pt x="256" y="0"/>
                    <a:pt x="256" y="0"/>
                    <a:pt x="256"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3" name="Rectangle 125">
              <a:extLst>
                <a:ext uri="{FF2B5EF4-FFF2-40B4-BE49-F238E27FC236}">
                  <a16:creationId xmlns:a16="http://schemas.microsoft.com/office/drawing/2014/main" id="{B3CB3F00-4DDA-410A-842D-9E487FC11003}"/>
                </a:ext>
              </a:extLst>
            </p:cNvPr>
            <p:cNvSpPr>
              <a:spLocks noChangeArrowheads="1"/>
            </p:cNvSpPr>
            <p:nvPr/>
          </p:nvSpPr>
          <p:spPr bwMode="auto">
            <a:xfrm>
              <a:off x="6502" y="1062"/>
              <a:ext cx="39" cy="19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4" name="Freeform 126">
              <a:extLst>
                <a:ext uri="{FF2B5EF4-FFF2-40B4-BE49-F238E27FC236}">
                  <a16:creationId xmlns:a16="http://schemas.microsoft.com/office/drawing/2014/main" id="{41E71EFF-7045-4843-AFDC-331F5F09A329}"/>
                </a:ext>
              </a:extLst>
            </p:cNvPr>
            <p:cNvSpPr>
              <a:spLocks noEditPoints="1"/>
            </p:cNvSpPr>
            <p:nvPr/>
          </p:nvSpPr>
          <p:spPr bwMode="auto">
            <a:xfrm>
              <a:off x="6477" y="1233"/>
              <a:ext cx="89" cy="78"/>
            </a:xfrm>
            <a:custGeom>
              <a:avLst/>
              <a:gdLst>
                <a:gd name="T0" fmla="*/ 194 w 389"/>
                <a:gd name="T1" fmla="*/ 128 h 341"/>
                <a:gd name="T2" fmla="*/ 230 w 389"/>
                <a:gd name="T3" fmla="*/ 147 h 341"/>
                <a:gd name="T4" fmla="*/ 236 w 389"/>
                <a:gd name="T5" fmla="*/ 179 h 341"/>
                <a:gd name="T6" fmla="*/ 218 w 389"/>
                <a:gd name="T7" fmla="*/ 206 h 341"/>
                <a:gd name="T8" fmla="*/ 194 w 389"/>
                <a:gd name="T9" fmla="*/ 213 h 341"/>
                <a:gd name="T10" fmla="*/ 159 w 389"/>
                <a:gd name="T11" fmla="*/ 194 h 341"/>
                <a:gd name="T12" fmla="*/ 171 w 389"/>
                <a:gd name="T13" fmla="*/ 135 h 341"/>
                <a:gd name="T14" fmla="*/ 194 w 389"/>
                <a:gd name="T15" fmla="*/ 128 h 341"/>
                <a:gd name="T16" fmla="*/ 194 w 389"/>
                <a:gd name="T17" fmla="*/ 0 h 341"/>
                <a:gd name="T18" fmla="*/ 100 w 389"/>
                <a:gd name="T19" fmla="*/ 28 h 341"/>
                <a:gd name="T20" fmla="*/ 52 w 389"/>
                <a:gd name="T21" fmla="*/ 265 h 341"/>
                <a:gd name="T22" fmla="*/ 194 w 389"/>
                <a:gd name="T23" fmla="*/ 341 h 341"/>
                <a:gd name="T24" fmla="*/ 289 w 389"/>
                <a:gd name="T25" fmla="*/ 312 h 341"/>
                <a:gd name="T26" fmla="*/ 336 w 389"/>
                <a:gd name="T27" fmla="*/ 76 h 341"/>
                <a:gd name="T28" fmla="*/ 194 w 389"/>
                <a:gd name="T29"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9" h="341">
                  <a:moveTo>
                    <a:pt x="194" y="128"/>
                  </a:moveTo>
                  <a:cubicBezTo>
                    <a:pt x="209" y="128"/>
                    <a:pt x="222" y="135"/>
                    <a:pt x="230" y="147"/>
                  </a:cubicBezTo>
                  <a:cubicBezTo>
                    <a:pt x="238" y="160"/>
                    <a:pt x="237" y="172"/>
                    <a:pt x="236" y="179"/>
                  </a:cubicBezTo>
                  <a:cubicBezTo>
                    <a:pt x="235" y="185"/>
                    <a:pt x="231" y="197"/>
                    <a:pt x="218" y="206"/>
                  </a:cubicBezTo>
                  <a:cubicBezTo>
                    <a:pt x="211" y="211"/>
                    <a:pt x="203" y="213"/>
                    <a:pt x="194" y="213"/>
                  </a:cubicBezTo>
                  <a:cubicBezTo>
                    <a:pt x="180" y="213"/>
                    <a:pt x="167" y="206"/>
                    <a:pt x="159" y="194"/>
                  </a:cubicBezTo>
                  <a:cubicBezTo>
                    <a:pt x="146" y="175"/>
                    <a:pt x="151" y="148"/>
                    <a:pt x="171" y="135"/>
                  </a:cubicBezTo>
                  <a:cubicBezTo>
                    <a:pt x="178" y="130"/>
                    <a:pt x="186" y="128"/>
                    <a:pt x="194" y="128"/>
                  </a:cubicBezTo>
                  <a:moveTo>
                    <a:pt x="194" y="0"/>
                  </a:moveTo>
                  <a:cubicBezTo>
                    <a:pt x="162" y="0"/>
                    <a:pt x="129" y="9"/>
                    <a:pt x="100" y="28"/>
                  </a:cubicBezTo>
                  <a:cubicBezTo>
                    <a:pt x="21" y="81"/>
                    <a:pt x="0" y="187"/>
                    <a:pt x="52" y="265"/>
                  </a:cubicBezTo>
                  <a:cubicBezTo>
                    <a:pt x="85" y="314"/>
                    <a:pt x="139" y="341"/>
                    <a:pt x="194" y="341"/>
                  </a:cubicBezTo>
                  <a:cubicBezTo>
                    <a:pt x="227" y="341"/>
                    <a:pt x="260" y="332"/>
                    <a:pt x="289" y="312"/>
                  </a:cubicBezTo>
                  <a:cubicBezTo>
                    <a:pt x="367" y="260"/>
                    <a:pt x="389" y="154"/>
                    <a:pt x="336" y="76"/>
                  </a:cubicBezTo>
                  <a:cubicBezTo>
                    <a:pt x="303" y="26"/>
                    <a:pt x="249" y="0"/>
                    <a:pt x="19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5" name="Freeform 127">
              <a:extLst>
                <a:ext uri="{FF2B5EF4-FFF2-40B4-BE49-F238E27FC236}">
                  <a16:creationId xmlns:a16="http://schemas.microsoft.com/office/drawing/2014/main" id="{AB0EC0D7-0F36-45B1-BEA6-08AC34D4D2F4}"/>
                </a:ext>
              </a:extLst>
            </p:cNvPr>
            <p:cNvSpPr>
              <a:spLocks/>
            </p:cNvSpPr>
            <p:nvPr/>
          </p:nvSpPr>
          <p:spPr bwMode="auto">
            <a:xfrm>
              <a:off x="6473" y="999"/>
              <a:ext cx="98" cy="92"/>
            </a:xfrm>
            <a:custGeom>
              <a:avLst/>
              <a:gdLst>
                <a:gd name="T0" fmla="*/ 299 w 427"/>
                <a:gd name="T1" fmla="*/ 0 h 403"/>
                <a:gd name="T2" fmla="*/ 299 w 427"/>
                <a:gd name="T3" fmla="*/ 212 h 403"/>
                <a:gd name="T4" fmla="*/ 128 w 427"/>
                <a:gd name="T5" fmla="*/ 212 h 403"/>
                <a:gd name="T6" fmla="*/ 128 w 427"/>
                <a:gd name="T7" fmla="*/ 0 h 403"/>
                <a:gd name="T8" fmla="*/ 0 w 427"/>
                <a:gd name="T9" fmla="*/ 190 h 403"/>
                <a:gd name="T10" fmla="*/ 213 w 427"/>
                <a:gd name="T11" fmla="*/ 403 h 403"/>
                <a:gd name="T12" fmla="*/ 427 w 427"/>
                <a:gd name="T13" fmla="*/ 190 h 403"/>
                <a:gd name="T14" fmla="*/ 299 w 42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7" h="403">
                  <a:moveTo>
                    <a:pt x="299" y="0"/>
                  </a:moveTo>
                  <a:cubicBezTo>
                    <a:pt x="299" y="212"/>
                    <a:pt x="299" y="212"/>
                    <a:pt x="299" y="212"/>
                  </a:cubicBezTo>
                  <a:cubicBezTo>
                    <a:pt x="128" y="212"/>
                    <a:pt x="128" y="212"/>
                    <a:pt x="128" y="212"/>
                  </a:cubicBezTo>
                  <a:cubicBezTo>
                    <a:pt x="128" y="0"/>
                    <a:pt x="128" y="0"/>
                    <a:pt x="128" y="0"/>
                  </a:cubicBezTo>
                  <a:cubicBezTo>
                    <a:pt x="57" y="24"/>
                    <a:pt x="0" y="107"/>
                    <a:pt x="0" y="190"/>
                  </a:cubicBezTo>
                  <a:cubicBezTo>
                    <a:pt x="0" y="308"/>
                    <a:pt x="96" y="403"/>
                    <a:pt x="213" y="403"/>
                  </a:cubicBezTo>
                  <a:cubicBezTo>
                    <a:pt x="331" y="403"/>
                    <a:pt x="427" y="308"/>
                    <a:pt x="427" y="190"/>
                  </a:cubicBezTo>
                  <a:cubicBezTo>
                    <a:pt x="427" y="107"/>
                    <a:pt x="373" y="27"/>
                    <a:pt x="299"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pic>
        <p:nvPicPr>
          <p:cNvPr id="94" name="Graphic 93">
            <a:extLst>
              <a:ext uri="{FF2B5EF4-FFF2-40B4-BE49-F238E27FC236}">
                <a16:creationId xmlns:a16="http://schemas.microsoft.com/office/drawing/2014/main" id="{120E024E-6140-4B95-804E-6E92B1EC3A7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flipV="1">
            <a:off x="876942" y="2440688"/>
            <a:ext cx="1200507" cy="91343"/>
          </a:xfrm>
          <a:prstGeom prst="rect">
            <a:avLst/>
          </a:prstGeom>
        </p:spPr>
      </p:pic>
      <p:sp>
        <p:nvSpPr>
          <p:cNvPr id="93" name="TextBox 92">
            <a:extLst>
              <a:ext uri="{FF2B5EF4-FFF2-40B4-BE49-F238E27FC236}">
                <a16:creationId xmlns:a16="http://schemas.microsoft.com/office/drawing/2014/main" id="{84BAC4FD-E0E7-4D10-B4C0-AFA70B364963}"/>
              </a:ext>
            </a:extLst>
          </p:cNvPr>
          <p:cNvSpPr txBox="1"/>
          <p:nvPr/>
        </p:nvSpPr>
        <p:spPr>
          <a:xfrm>
            <a:off x="9988589" y="4255524"/>
            <a:ext cx="1341688" cy="276999"/>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200" b="0" i="0" u="none" strike="noStrike" kern="0" cap="none" spc="0" normalizeH="0" baseline="0">
                <a:ln>
                  <a:noFill/>
                </a:ln>
                <a:solidFill>
                  <a:prstClr val="white"/>
                </a:solidFill>
                <a:effectLst/>
                <a:uLnTx/>
                <a:uFillTx/>
                <a:latin typeface="Segoe UI Semibold"/>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Semibold"/>
                <a:ea typeface="+mn-ea"/>
                <a:cs typeface="Segoe UI Semibold" panose="020B0702040204020203" pitchFamily="34" charset="0"/>
              </a:rPr>
              <a:t>Business process</a:t>
            </a:r>
          </a:p>
        </p:txBody>
      </p:sp>
      <p:grpSp>
        <p:nvGrpSpPr>
          <p:cNvPr id="96" name="Group 342">
            <a:extLst>
              <a:ext uri="{FF2B5EF4-FFF2-40B4-BE49-F238E27FC236}">
                <a16:creationId xmlns:a16="http://schemas.microsoft.com/office/drawing/2014/main" id="{392F1749-406C-476F-A9EF-90464D6CD68E}"/>
              </a:ext>
            </a:extLst>
          </p:cNvPr>
          <p:cNvGrpSpPr>
            <a:grpSpLocks noChangeAspect="1"/>
          </p:cNvGrpSpPr>
          <p:nvPr/>
        </p:nvGrpSpPr>
        <p:grpSpPr bwMode="auto">
          <a:xfrm>
            <a:off x="10267425" y="4841456"/>
            <a:ext cx="784015" cy="766810"/>
            <a:chOff x="2805" y="2777"/>
            <a:chExt cx="319" cy="312"/>
          </a:xfrm>
        </p:grpSpPr>
        <p:sp>
          <p:nvSpPr>
            <p:cNvPr id="103" name="Freeform 343">
              <a:extLst>
                <a:ext uri="{FF2B5EF4-FFF2-40B4-BE49-F238E27FC236}">
                  <a16:creationId xmlns:a16="http://schemas.microsoft.com/office/drawing/2014/main" id="{B43C9AD5-D275-4396-9FB5-1DC372C245F6}"/>
                </a:ext>
              </a:extLst>
            </p:cNvPr>
            <p:cNvSpPr>
              <a:spLocks noEditPoints="1"/>
            </p:cNvSpPr>
            <p:nvPr/>
          </p:nvSpPr>
          <p:spPr bwMode="auto">
            <a:xfrm>
              <a:off x="2805" y="2777"/>
              <a:ext cx="319" cy="312"/>
            </a:xfrm>
            <a:custGeom>
              <a:avLst/>
              <a:gdLst>
                <a:gd name="T0" fmla="*/ 715 w 1396"/>
                <a:gd name="T1" fmla="*/ 0 h 1365"/>
                <a:gd name="T2" fmla="*/ 125 w 1396"/>
                <a:gd name="T3" fmla="*/ 341 h 1365"/>
                <a:gd name="T4" fmla="*/ 125 w 1396"/>
                <a:gd name="T5" fmla="*/ 1024 h 1365"/>
                <a:gd name="T6" fmla="*/ 715 w 1396"/>
                <a:gd name="T7" fmla="*/ 1365 h 1365"/>
                <a:gd name="T8" fmla="*/ 1396 w 1396"/>
                <a:gd name="T9" fmla="*/ 682 h 1365"/>
                <a:gd name="T10" fmla="*/ 715 w 1396"/>
                <a:gd name="T11" fmla="*/ 0 h 1365"/>
                <a:gd name="T12" fmla="*/ 714 w 1396"/>
                <a:gd name="T13" fmla="*/ 1237 h 1365"/>
                <a:gd name="T14" fmla="*/ 159 w 1396"/>
                <a:gd name="T15" fmla="*/ 683 h 1365"/>
                <a:gd name="T16" fmla="*/ 714 w 1396"/>
                <a:gd name="T17" fmla="*/ 128 h 1365"/>
                <a:gd name="T18" fmla="*/ 1268 w 1396"/>
                <a:gd name="T19" fmla="*/ 683 h 1365"/>
                <a:gd name="T20" fmla="*/ 714 w 1396"/>
                <a:gd name="T21" fmla="*/ 1237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96" h="1365">
                  <a:moveTo>
                    <a:pt x="715" y="0"/>
                  </a:moveTo>
                  <a:cubicBezTo>
                    <a:pt x="464" y="0"/>
                    <a:pt x="250" y="124"/>
                    <a:pt x="125" y="341"/>
                  </a:cubicBezTo>
                  <a:cubicBezTo>
                    <a:pt x="0" y="559"/>
                    <a:pt x="0" y="806"/>
                    <a:pt x="125" y="1024"/>
                  </a:cubicBezTo>
                  <a:cubicBezTo>
                    <a:pt x="250" y="1241"/>
                    <a:pt x="464" y="1365"/>
                    <a:pt x="715" y="1365"/>
                  </a:cubicBezTo>
                  <a:cubicBezTo>
                    <a:pt x="1091" y="1365"/>
                    <a:pt x="1396" y="1059"/>
                    <a:pt x="1396" y="682"/>
                  </a:cubicBezTo>
                  <a:cubicBezTo>
                    <a:pt x="1396" y="305"/>
                    <a:pt x="1091" y="0"/>
                    <a:pt x="715" y="0"/>
                  </a:cubicBezTo>
                  <a:close/>
                  <a:moveTo>
                    <a:pt x="714" y="1237"/>
                  </a:moveTo>
                  <a:cubicBezTo>
                    <a:pt x="407" y="1237"/>
                    <a:pt x="159" y="989"/>
                    <a:pt x="159" y="683"/>
                  </a:cubicBezTo>
                  <a:cubicBezTo>
                    <a:pt x="159" y="376"/>
                    <a:pt x="407" y="128"/>
                    <a:pt x="714" y="128"/>
                  </a:cubicBezTo>
                  <a:cubicBezTo>
                    <a:pt x="1020" y="128"/>
                    <a:pt x="1268" y="376"/>
                    <a:pt x="1268" y="683"/>
                  </a:cubicBezTo>
                  <a:cubicBezTo>
                    <a:pt x="1268" y="989"/>
                    <a:pt x="1020" y="1237"/>
                    <a:pt x="714" y="123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4" name="Freeform 344">
              <a:extLst>
                <a:ext uri="{FF2B5EF4-FFF2-40B4-BE49-F238E27FC236}">
                  <a16:creationId xmlns:a16="http://schemas.microsoft.com/office/drawing/2014/main" id="{C7966862-A07B-4F62-A54F-5BB3FFD01EFD}"/>
                </a:ext>
              </a:extLst>
            </p:cNvPr>
            <p:cNvSpPr>
              <a:spLocks noEditPoints="1"/>
            </p:cNvSpPr>
            <p:nvPr/>
          </p:nvSpPr>
          <p:spPr bwMode="auto">
            <a:xfrm>
              <a:off x="2871" y="2835"/>
              <a:ext cx="195" cy="195"/>
            </a:xfrm>
            <a:custGeom>
              <a:avLst/>
              <a:gdLst>
                <a:gd name="T0" fmla="*/ 853 w 853"/>
                <a:gd name="T1" fmla="*/ 471 h 854"/>
                <a:gd name="T2" fmla="*/ 852 w 853"/>
                <a:gd name="T3" fmla="*/ 382 h 854"/>
                <a:gd name="T4" fmla="*/ 789 w 853"/>
                <a:gd name="T5" fmla="*/ 383 h 854"/>
                <a:gd name="T6" fmla="*/ 715 w 853"/>
                <a:gd name="T7" fmla="*/ 205 h 854"/>
                <a:gd name="T8" fmla="*/ 759 w 853"/>
                <a:gd name="T9" fmla="*/ 160 h 854"/>
                <a:gd name="T10" fmla="*/ 691 w 853"/>
                <a:gd name="T11" fmla="*/ 95 h 854"/>
                <a:gd name="T12" fmla="*/ 648 w 853"/>
                <a:gd name="T13" fmla="*/ 139 h 854"/>
                <a:gd name="T14" fmla="*/ 465 w 853"/>
                <a:gd name="T15" fmla="*/ 65 h 854"/>
                <a:gd name="T16" fmla="*/ 464 w 853"/>
                <a:gd name="T17" fmla="*/ 0 h 854"/>
                <a:gd name="T18" fmla="*/ 373 w 853"/>
                <a:gd name="T19" fmla="*/ 1 h 854"/>
                <a:gd name="T20" fmla="*/ 374 w 853"/>
                <a:gd name="T21" fmla="*/ 67 h 854"/>
                <a:gd name="T22" fmla="*/ 198 w 853"/>
                <a:gd name="T23" fmla="*/ 143 h 854"/>
                <a:gd name="T24" fmla="*/ 155 w 853"/>
                <a:gd name="T25" fmla="*/ 102 h 854"/>
                <a:gd name="T26" fmla="*/ 89 w 853"/>
                <a:gd name="T27" fmla="*/ 169 h 854"/>
                <a:gd name="T28" fmla="*/ 133 w 853"/>
                <a:gd name="T29" fmla="*/ 211 h 854"/>
                <a:gd name="T30" fmla="*/ 63 w 853"/>
                <a:gd name="T31" fmla="*/ 382 h 854"/>
                <a:gd name="T32" fmla="*/ 0 w 853"/>
                <a:gd name="T33" fmla="*/ 383 h 854"/>
                <a:gd name="T34" fmla="*/ 1 w 853"/>
                <a:gd name="T35" fmla="*/ 472 h 854"/>
                <a:gd name="T36" fmla="*/ 63 w 853"/>
                <a:gd name="T37" fmla="*/ 471 h 854"/>
                <a:gd name="T38" fmla="*/ 137 w 853"/>
                <a:gd name="T39" fmla="*/ 654 h 854"/>
                <a:gd name="T40" fmla="*/ 96 w 853"/>
                <a:gd name="T41" fmla="*/ 696 h 854"/>
                <a:gd name="T42" fmla="*/ 164 w 853"/>
                <a:gd name="T43" fmla="*/ 761 h 854"/>
                <a:gd name="T44" fmla="*/ 204 w 853"/>
                <a:gd name="T45" fmla="*/ 720 h 854"/>
                <a:gd name="T46" fmla="*/ 388 w 853"/>
                <a:gd name="T47" fmla="*/ 793 h 854"/>
                <a:gd name="T48" fmla="*/ 389 w 853"/>
                <a:gd name="T49" fmla="*/ 854 h 854"/>
                <a:gd name="T50" fmla="*/ 480 w 853"/>
                <a:gd name="T51" fmla="*/ 853 h 854"/>
                <a:gd name="T52" fmla="*/ 479 w 853"/>
                <a:gd name="T53" fmla="*/ 791 h 854"/>
                <a:gd name="T54" fmla="*/ 657 w 853"/>
                <a:gd name="T55" fmla="*/ 713 h 854"/>
                <a:gd name="T56" fmla="*/ 700 w 853"/>
                <a:gd name="T57" fmla="*/ 754 h 854"/>
                <a:gd name="T58" fmla="*/ 766 w 853"/>
                <a:gd name="T59" fmla="*/ 688 h 854"/>
                <a:gd name="T60" fmla="*/ 722 w 853"/>
                <a:gd name="T61" fmla="*/ 645 h 854"/>
                <a:gd name="T62" fmla="*/ 789 w 853"/>
                <a:gd name="T63" fmla="*/ 472 h 854"/>
                <a:gd name="T64" fmla="*/ 853 w 853"/>
                <a:gd name="T65" fmla="*/ 471 h 854"/>
                <a:gd name="T66" fmla="*/ 425 w 853"/>
                <a:gd name="T67" fmla="*/ 683 h 854"/>
                <a:gd name="T68" fmla="*/ 169 w 853"/>
                <a:gd name="T69" fmla="*/ 427 h 854"/>
                <a:gd name="T70" fmla="*/ 425 w 853"/>
                <a:gd name="T71" fmla="*/ 171 h 854"/>
                <a:gd name="T72" fmla="*/ 681 w 853"/>
                <a:gd name="T73" fmla="*/ 427 h 854"/>
                <a:gd name="T74" fmla="*/ 425 w 853"/>
                <a:gd name="T75" fmla="*/ 683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3" h="854">
                  <a:moveTo>
                    <a:pt x="853" y="471"/>
                  </a:moveTo>
                  <a:cubicBezTo>
                    <a:pt x="852" y="382"/>
                    <a:pt x="852" y="382"/>
                    <a:pt x="852" y="382"/>
                  </a:cubicBezTo>
                  <a:cubicBezTo>
                    <a:pt x="789" y="383"/>
                    <a:pt x="789" y="383"/>
                    <a:pt x="789" y="383"/>
                  </a:cubicBezTo>
                  <a:cubicBezTo>
                    <a:pt x="781" y="316"/>
                    <a:pt x="754" y="255"/>
                    <a:pt x="715" y="205"/>
                  </a:cubicBezTo>
                  <a:cubicBezTo>
                    <a:pt x="759" y="160"/>
                    <a:pt x="759" y="160"/>
                    <a:pt x="759" y="160"/>
                  </a:cubicBezTo>
                  <a:cubicBezTo>
                    <a:pt x="691" y="95"/>
                    <a:pt x="691" y="95"/>
                    <a:pt x="691" y="95"/>
                  </a:cubicBezTo>
                  <a:cubicBezTo>
                    <a:pt x="648" y="139"/>
                    <a:pt x="648" y="139"/>
                    <a:pt x="648" y="139"/>
                  </a:cubicBezTo>
                  <a:cubicBezTo>
                    <a:pt x="596" y="99"/>
                    <a:pt x="533" y="73"/>
                    <a:pt x="465" y="65"/>
                  </a:cubicBezTo>
                  <a:cubicBezTo>
                    <a:pt x="464" y="0"/>
                    <a:pt x="464" y="0"/>
                    <a:pt x="464" y="0"/>
                  </a:cubicBezTo>
                  <a:cubicBezTo>
                    <a:pt x="373" y="1"/>
                    <a:pt x="373" y="1"/>
                    <a:pt x="373" y="1"/>
                  </a:cubicBezTo>
                  <a:cubicBezTo>
                    <a:pt x="374" y="67"/>
                    <a:pt x="374" y="67"/>
                    <a:pt x="374" y="67"/>
                  </a:cubicBezTo>
                  <a:cubicBezTo>
                    <a:pt x="308" y="76"/>
                    <a:pt x="248" y="104"/>
                    <a:pt x="198" y="143"/>
                  </a:cubicBezTo>
                  <a:cubicBezTo>
                    <a:pt x="155" y="102"/>
                    <a:pt x="155" y="102"/>
                    <a:pt x="155" y="102"/>
                  </a:cubicBezTo>
                  <a:cubicBezTo>
                    <a:pt x="89" y="169"/>
                    <a:pt x="89" y="169"/>
                    <a:pt x="89" y="169"/>
                  </a:cubicBezTo>
                  <a:cubicBezTo>
                    <a:pt x="133" y="211"/>
                    <a:pt x="133" y="211"/>
                    <a:pt x="133" y="211"/>
                  </a:cubicBezTo>
                  <a:cubicBezTo>
                    <a:pt x="96" y="260"/>
                    <a:pt x="71" y="319"/>
                    <a:pt x="63" y="382"/>
                  </a:cubicBezTo>
                  <a:cubicBezTo>
                    <a:pt x="0" y="383"/>
                    <a:pt x="0" y="383"/>
                    <a:pt x="0" y="383"/>
                  </a:cubicBezTo>
                  <a:cubicBezTo>
                    <a:pt x="1" y="472"/>
                    <a:pt x="1" y="472"/>
                    <a:pt x="1" y="472"/>
                  </a:cubicBezTo>
                  <a:cubicBezTo>
                    <a:pt x="63" y="471"/>
                    <a:pt x="63" y="471"/>
                    <a:pt x="63" y="471"/>
                  </a:cubicBezTo>
                  <a:cubicBezTo>
                    <a:pt x="70" y="540"/>
                    <a:pt x="97" y="602"/>
                    <a:pt x="137" y="654"/>
                  </a:cubicBezTo>
                  <a:cubicBezTo>
                    <a:pt x="96" y="696"/>
                    <a:pt x="96" y="696"/>
                    <a:pt x="96" y="696"/>
                  </a:cubicBezTo>
                  <a:cubicBezTo>
                    <a:pt x="164" y="761"/>
                    <a:pt x="164" y="761"/>
                    <a:pt x="164" y="761"/>
                  </a:cubicBezTo>
                  <a:cubicBezTo>
                    <a:pt x="204" y="720"/>
                    <a:pt x="204" y="720"/>
                    <a:pt x="204" y="720"/>
                  </a:cubicBezTo>
                  <a:cubicBezTo>
                    <a:pt x="256" y="760"/>
                    <a:pt x="320" y="786"/>
                    <a:pt x="388" y="793"/>
                  </a:cubicBezTo>
                  <a:cubicBezTo>
                    <a:pt x="389" y="854"/>
                    <a:pt x="389" y="854"/>
                    <a:pt x="389" y="854"/>
                  </a:cubicBezTo>
                  <a:cubicBezTo>
                    <a:pt x="480" y="853"/>
                    <a:pt x="480" y="853"/>
                    <a:pt x="480" y="853"/>
                  </a:cubicBezTo>
                  <a:cubicBezTo>
                    <a:pt x="479" y="791"/>
                    <a:pt x="479" y="791"/>
                    <a:pt x="479" y="791"/>
                  </a:cubicBezTo>
                  <a:cubicBezTo>
                    <a:pt x="546" y="782"/>
                    <a:pt x="607" y="754"/>
                    <a:pt x="657" y="713"/>
                  </a:cubicBezTo>
                  <a:cubicBezTo>
                    <a:pt x="700" y="754"/>
                    <a:pt x="700" y="754"/>
                    <a:pt x="700" y="754"/>
                  </a:cubicBezTo>
                  <a:cubicBezTo>
                    <a:pt x="766" y="688"/>
                    <a:pt x="766" y="688"/>
                    <a:pt x="766" y="688"/>
                  </a:cubicBezTo>
                  <a:cubicBezTo>
                    <a:pt x="722" y="645"/>
                    <a:pt x="722" y="645"/>
                    <a:pt x="722" y="645"/>
                  </a:cubicBezTo>
                  <a:cubicBezTo>
                    <a:pt x="758" y="595"/>
                    <a:pt x="782" y="536"/>
                    <a:pt x="789" y="472"/>
                  </a:cubicBezTo>
                  <a:lnTo>
                    <a:pt x="853" y="471"/>
                  </a:lnTo>
                  <a:close/>
                  <a:moveTo>
                    <a:pt x="425" y="683"/>
                  </a:moveTo>
                  <a:cubicBezTo>
                    <a:pt x="284" y="683"/>
                    <a:pt x="169" y="568"/>
                    <a:pt x="169" y="427"/>
                  </a:cubicBezTo>
                  <a:cubicBezTo>
                    <a:pt x="169" y="285"/>
                    <a:pt x="284" y="171"/>
                    <a:pt x="425" y="171"/>
                  </a:cubicBezTo>
                  <a:cubicBezTo>
                    <a:pt x="566" y="171"/>
                    <a:pt x="681" y="285"/>
                    <a:pt x="681" y="427"/>
                  </a:cubicBezTo>
                  <a:cubicBezTo>
                    <a:pt x="681" y="568"/>
                    <a:pt x="566" y="683"/>
                    <a:pt x="425" y="68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cxnSp>
        <p:nvCxnSpPr>
          <p:cNvPr id="13" name="Connector: Elbow 12">
            <a:extLst>
              <a:ext uri="{FF2B5EF4-FFF2-40B4-BE49-F238E27FC236}">
                <a16:creationId xmlns:a16="http://schemas.microsoft.com/office/drawing/2014/main" id="{CA6C5925-9BBE-4ABB-AE48-AB895153A061}"/>
              </a:ext>
            </a:extLst>
          </p:cNvPr>
          <p:cNvCxnSpPr/>
          <p:nvPr/>
        </p:nvCxnSpPr>
        <p:spPr>
          <a:xfrm>
            <a:off x="9041590" y="3220126"/>
            <a:ext cx="1023660" cy="1998662"/>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54299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42" fill="hold" nodeType="clickEffect">
                                  <p:stCondLst>
                                    <p:cond delay="0"/>
                                  </p:stCondLst>
                                  <p:childTnLst>
                                    <p:set>
                                      <p:cBhvr>
                                        <p:cTn id="6" dur="1" fill="hold">
                                          <p:stCondLst>
                                            <p:cond delay="0"/>
                                          </p:stCondLst>
                                        </p:cTn>
                                        <p:tgtEl>
                                          <p:spTgt spid="94"/>
                                        </p:tgtEl>
                                        <p:attrNameLst>
                                          <p:attrName>style.visibility</p:attrName>
                                        </p:attrNameLst>
                                      </p:cBhvr>
                                      <p:to>
                                        <p:strVal val="visible"/>
                                      </p:to>
                                    </p:set>
                                    <p:animEffect transition="in" filter="barn(outHorizontal)">
                                      <p:cBhvr>
                                        <p:cTn id="7" dur="250"/>
                                        <p:tgtEl>
                                          <p:spTgt spid="94"/>
                                        </p:tgtEl>
                                      </p:cBhvr>
                                    </p:animEffect>
                                  </p:childTnLst>
                                </p:cTn>
                              </p:par>
                            </p:childTnLst>
                          </p:cTn>
                        </p:par>
                        <p:par>
                          <p:cTn id="8" fill="hold">
                            <p:stCondLst>
                              <p:cond delay="250"/>
                            </p:stCondLst>
                            <p:childTnLst>
                              <p:par>
                                <p:cTn id="9" presetID="42" presetClass="path" presetSubtype="0" accel="12500" decel="12500" fill="hold" nodeType="afterEffect">
                                  <p:stCondLst>
                                    <p:cond delay="250"/>
                                  </p:stCondLst>
                                  <p:childTnLst>
                                    <p:animMotion origin="layout" path="M -3.75E-6 5.55112E-17 L -3.75E-6 0.21528 " pathEditMode="relative" rAng="0" ptsTypes="AA">
                                      <p:cBhvr>
                                        <p:cTn id="10" dur="2500" fill="hold"/>
                                        <p:tgtEl>
                                          <p:spTgt spid="94"/>
                                        </p:tgtEl>
                                        <p:attrNameLst>
                                          <p:attrName>ppt_x</p:attrName>
                                          <p:attrName>ppt_y</p:attrName>
                                        </p:attrNameLst>
                                      </p:cBhvr>
                                      <p:rCtr x="0" y="10764"/>
                                    </p:animMotion>
                                  </p:childTnLst>
                                </p:cTn>
                              </p:par>
                              <p:par>
                                <p:cTn id="11" presetID="22" presetClass="entr" presetSubtype="8" fill="hold" nodeType="withEffect">
                                  <p:stCondLst>
                                    <p:cond delay="750"/>
                                  </p:stCondLst>
                                  <p:childTnLst>
                                    <p:set>
                                      <p:cBhvr>
                                        <p:cTn id="12" dur="1" fill="hold">
                                          <p:stCondLst>
                                            <p:cond delay="0"/>
                                          </p:stCondLst>
                                        </p:cTn>
                                        <p:tgtEl>
                                          <p:spTgt spid="114"/>
                                        </p:tgtEl>
                                        <p:attrNameLst>
                                          <p:attrName>style.visibility</p:attrName>
                                        </p:attrNameLst>
                                      </p:cBhvr>
                                      <p:to>
                                        <p:strVal val="visible"/>
                                      </p:to>
                                    </p:set>
                                    <p:animEffect transition="in" filter="wipe(left)">
                                      <p:cBhvr>
                                        <p:cTn id="13" dur="500"/>
                                        <p:tgtEl>
                                          <p:spTgt spid="114"/>
                                        </p:tgtEl>
                                      </p:cBhvr>
                                    </p:animEffect>
                                  </p:childTnLst>
                                </p:cTn>
                              </p:par>
                              <p:par>
                                <p:cTn id="14" presetID="10" presetClass="entr" presetSubtype="0" fill="hold" grpId="0" nodeType="withEffect">
                                  <p:stCondLst>
                                    <p:cond delay="125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par>
                                <p:cTn id="17" presetID="10" presetClass="entr" presetSubtype="0" fill="hold" nodeType="withEffect">
                                  <p:stCondLst>
                                    <p:cond delay="1250"/>
                                  </p:stCondLst>
                                  <p:childTnLst>
                                    <p:set>
                                      <p:cBhvr>
                                        <p:cTn id="18" dur="1" fill="hold">
                                          <p:stCondLst>
                                            <p:cond delay="0"/>
                                          </p:stCondLst>
                                        </p:cTn>
                                        <p:tgtEl>
                                          <p:spTgt spid="97"/>
                                        </p:tgtEl>
                                        <p:attrNameLst>
                                          <p:attrName>style.visibility</p:attrName>
                                        </p:attrNameLst>
                                      </p:cBhvr>
                                      <p:to>
                                        <p:strVal val="visible"/>
                                      </p:to>
                                    </p:set>
                                    <p:animEffect transition="in" filter="fade">
                                      <p:cBhvr>
                                        <p:cTn id="19" dur="500"/>
                                        <p:tgtEl>
                                          <p:spTgt spid="97"/>
                                        </p:tgtEl>
                                      </p:cBhvr>
                                    </p:animEffect>
                                  </p:childTnLst>
                                </p:cTn>
                              </p:par>
                              <p:par>
                                <p:cTn id="20" presetID="63" presetClass="path" presetSubtype="0" accel="50000" decel="50000" fill="hold" nodeType="withEffect">
                                  <p:stCondLst>
                                    <p:cond delay="750"/>
                                  </p:stCondLst>
                                  <p:childTnLst>
                                    <p:animMotion origin="layout" path="M -2.70833E-6 -1.48148E-6 L 0.19987 -1.48148E-6 " pathEditMode="relative" rAng="0" ptsTypes="AA">
                                      <p:cBhvr>
                                        <p:cTn id="21" dur="2000" fill="hold"/>
                                        <p:tgtEl>
                                          <p:spTgt spid="84"/>
                                        </p:tgtEl>
                                        <p:attrNameLst>
                                          <p:attrName>ppt_x</p:attrName>
                                          <p:attrName>ppt_y</p:attrName>
                                        </p:attrNameLst>
                                      </p:cBhvr>
                                      <p:rCtr x="9987" y="0"/>
                                    </p:animMotion>
                                  </p:childTnLst>
                                </p:cTn>
                              </p:par>
                            </p:childTnLst>
                          </p:cTn>
                        </p:par>
                        <p:par>
                          <p:cTn id="22" fill="hold">
                            <p:stCondLst>
                              <p:cond delay="3000"/>
                            </p:stCondLst>
                            <p:childTnLst>
                              <p:par>
                                <p:cTn id="23" presetID="16" presetClass="exit" presetSubtype="26" fill="hold" nodeType="afterEffect">
                                  <p:stCondLst>
                                    <p:cond delay="0"/>
                                  </p:stCondLst>
                                  <p:childTnLst>
                                    <p:animEffect transition="out" filter="barn(inHorizontal)">
                                      <p:cBhvr>
                                        <p:cTn id="24" dur="500"/>
                                        <p:tgtEl>
                                          <p:spTgt spid="94"/>
                                        </p:tgtEl>
                                      </p:cBhvr>
                                    </p:animEffect>
                                    <p:set>
                                      <p:cBhvr>
                                        <p:cTn id="25" dur="1" fill="hold">
                                          <p:stCondLst>
                                            <p:cond delay="499"/>
                                          </p:stCondLst>
                                        </p:cTn>
                                        <p:tgtEl>
                                          <p:spTgt spid="94"/>
                                        </p:tgtEl>
                                        <p:attrNameLst>
                                          <p:attrName>style.visibility</p:attrName>
                                        </p:attrNameLst>
                                      </p:cBhvr>
                                      <p:to>
                                        <p:strVal val="hidden"/>
                                      </p:to>
                                    </p:set>
                                  </p:childTnLst>
                                </p:cTn>
                              </p:par>
                            </p:childTnLst>
                          </p:cTn>
                        </p:par>
                        <p:par>
                          <p:cTn id="26" fill="hold">
                            <p:stCondLst>
                              <p:cond delay="3500"/>
                            </p:stCondLst>
                            <p:childTnLst>
                              <p:par>
                                <p:cTn id="27" presetID="22" presetClass="entr" presetSubtype="8" fill="hold" nodeType="afterEffect">
                                  <p:stCondLst>
                                    <p:cond delay="0"/>
                                  </p:stCondLst>
                                  <p:childTnLst>
                                    <p:set>
                                      <p:cBhvr>
                                        <p:cTn id="28" dur="1" fill="hold">
                                          <p:stCondLst>
                                            <p:cond delay="0"/>
                                          </p:stCondLst>
                                        </p:cTn>
                                        <p:tgtEl>
                                          <p:spTgt spid="95"/>
                                        </p:tgtEl>
                                        <p:attrNameLst>
                                          <p:attrName>style.visibility</p:attrName>
                                        </p:attrNameLst>
                                      </p:cBhvr>
                                      <p:to>
                                        <p:strVal val="visible"/>
                                      </p:to>
                                    </p:set>
                                    <p:animEffect transition="in" filter="wipe(left)">
                                      <p:cBhvr>
                                        <p:cTn id="29" dur="500"/>
                                        <p:tgtEl>
                                          <p:spTgt spid="9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par>
                                <p:cTn id="33" presetID="42" presetClass="path" presetSubtype="0" decel="40000" fill="hold" nodeType="withEffect">
                                  <p:stCondLst>
                                    <p:cond delay="250"/>
                                  </p:stCondLst>
                                  <p:childTnLst>
                                    <p:animMotion origin="layout" path="M 0.20039 0.00949 L 0.38854 -0.00069 " pathEditMode="relative" rAng="0" ptsTypes="AA">
                                      <p:cBhvr>
                                        <p:cTn id="34" dur="1250" fill="hold"/>
                                        <p:tgtEl>
                                          <p:spTgt spid="84"/>
                                        </p:tgtEl>
                                        <p:attrNameLst>
                                          <p:attrName>ppt_x</p:attrName>
                                          <p:attrName>ppt_y</p:attrName>
                                        </p:attrNameLst>
                                      </p:cBhvr>
                                      <p:rCtr x="9401" y="-509"/>
                                    </p:animMotion>
                                  </p:childTnLst>
                                </p:cTn>
                              </p:par>
                              <p:par>
                                <p:cTn id="35" presetID="10" presetClass="entr" presetSubtype="0" fill="hold" nodeType="withEffect">
                                  <p:stCondLst>
                                    <p:cond delay="750"/>
                                  </p:stCondLst>
                                  <p:childTnLst>
                                    <p:set>
                                      <p:cBhvr>
                                        <p:cTn id="36" dur="1" fill="hold">
                                          <p:stCondLst>
                                            <p:cond delay="0"/>
                                          </p:stCondLst>
                                        </p:cTn>
                                        <p:tgtEl>
                                          <p:spTgt spid="202"/>
                                        </p:tgtEl>
                                        <p:attrNameLst>
                                          <p:attrName>style.visibility</p:attrName>
                                        </p:attrNameLst>
                                      </p:cBhvr>
                                      <p:to>
                                        <p:strVal val="visible"/>
                                      </p:to>
                                    </p:set>
                                    <p:animEffect transition="in" filter="fade">
                                      <p:cBhvr>
                                        <p:cTn id="37" dur="500"/>
                                        <p:tgtEl>
                                          <p:spTgt spid="202"/>
                                        </p:tgtEl>
                                      </p:cBhvr>
                                    </p:animEffect>
                                  </p:childTnLst>
                                </p:cTn>
                              </p:par>
                            </p:childTnLst>
                          </p:cTn>
                        </p:par>
                        <p:par>
                          <p:cTn id="38" fill="hold">
                            <p:stCondLst>
                              <p:cond delay="5000"/>
                            </p:stCondLst>
                            <p:childTnLst>
                              <p:par>
                                <p:cTn id="39" presetID="22" presetClass="entr" presetSubtype="1" fill="hold" nodeType="afterEffect">
                                  <p:stCondLst>
                                    <p:cond delay="0"/>
                                  </p:stCondLst>
                                  <p:childTnLst>
                                    <p:set>
                                      <p:cBhvr>
                                        <p:cTn id="40" dur="1" fill="hold">
                                          <p:stCondLst>
                                            <p:cond delay="0"/>
                                          </p:stCondLst>
                                        </p:cTn>
                                        <p:tgtEl>
                                          <p:spTgt spid="17"/>
                                        </p:tgtEl>
                                        <p:attrNameLst>
                                          <p:attrName>style.visibility</p:attrName>
                                        </p:attrNameLst>
                                      </p:cBhvr>
                                      <p:to>
                                        <p:strVal val="visible"/>
                                      </p:to>
                                    </p:set>
                                    <p:animEffect transition="in" filter="wipe(up)">
                                      <p:cBhvr>
                                        <p:cTn id="41" dur="500"/>
                                        <p:tgtEl>
                                          <p:spTgt spid="17"/>
                                        </p:tgtEl>
                                      </p:cBhvr>
                                    </p:animEffect>
                                  </p:childTnLst>
                                </p:cTn>
                              </p:par>
                            </p:childTnLst>
                          </p:cTn>
                        </p:par>
                        <p:par>
                          <p:cTn id="42" fill="hold">
                            <p:stCondLst>
                              <p:cond delay="5500"/>
                            </p:stCondLst>
                            <p:childTnLst>
                              <p:par>
                                <p:cTn id="43" presetID="10" presetClass="entr" presetSubtype="0" fill="hold" nodeType="afterEffect">
                                  <p:stCondLst>
                                    <p:cond delay="0"/>
                                  </p:stCondLst>
                                  <p:childTnLst>
                                    <p:set>
                                      <p:cBhvr>
                                        <p:cTn id="44" dur="1" fill="hold">
                                          <p:stCondLst>
                                            <p:cond delay="0"/>
                                          </p:stCondLst>
                                        </p:cTn>
                                        <p:tgtEl>
                                          <p:spTgt spid="106"/>
                                        </p:tgtEl>
                                        <p:attrNameLst>
                                          <p:attrName>style.visibility</p:attrName>
                                        </p:attrNameLst>
                                      </p:cBhvr>
                                      <p:to>
                                        <p:strVal val="visible"/>
                                      </p:to>
                                    </p:set>
                                    <p:animEffect transition="in" filter="fade">
                                      <p:cBhvr>
                                        <p:cTn id="45" dur="500"/>
                                        <p:tgtEl>
                                          <p:spTgt spid="10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9"/>
                                        </p:tgtEl>
                                        <p:attrNameLst>
                                          <p:attrName>style.visibility</p:attrName>
                                        </p:attrNameLst>
                                      </p:cBhvr>
                                      <p:to>
                                        <p:strVal val="visible"/>
                                      </p:to>
                                    </p:set>
                                    <p:animEffect transition="in" filter="fade">
                                      <p:cBhvr>
                                        <p:cTn id="48" dur="500"/>
                                        <p:tgtEl>
                                          <p:spTgt spid="9"/>
                                        </p:tgtEl>
                                      </p:cBhvr>
                                    </p:animEffect>
                                  </p:childTnLst>
                                </p:cTn>
                              </p:par>
                            </p:childTnLst>
                          </p:cTn>
                        </p:par>
                        <p:par>
                          <p:cTn id="49" fill="hold">
                            <p:stCondLst>
                              <p:cond delay="6000"/>
                            </p:stCondLst>
                            <p:childTnLst>
                              <p:par>
                                <p:cTn id="50" presetID="10" presetClass="entr" presetSubtype="0" fill="hold" grpId="1" nodeType="afterEffect">
                                  <p:stCondLst>
                                    <p:cond delay="0"/>
                                  </p:stCondLst>
                                  <p:childTnLst>
                                    <p:set>
                                      <p:cBhvr>
                                        <p:cTn id="51" dur="1" fill="hold">
                                          <p:stCondLst>
                                            <p:cond delay="0"/>
                                          </p:stCondLst>
                                        </p:cTn>
                                        <p:tgtEl>
                                          <p:spTgt spid="118"/>
                                        </p:tgtEl>
                                        <p:attrNameLst>
                                          <p:attrName>style.visibility</p:attrName>
                                        </p:attrNameLst>
                                      </p:cBhvr>
                                      <p:to>
                                        <p:strVal val="visible"/>
                                      </p:to>
                                    </p:set>
                                    <p:animEffect transition="in" filter="fade">
                                      <p:cBhvr>
                                        <p:cTn id="52" dur="500"/>
                                        <p:tgtEl>
                                          <p:spTgt spid="118"/>
                                        </p:tgtEl>
                                      </p:cBhvr>
                                    </p:animEffect>
                                  </p:childTnLst>
                                </p:cTn>
                              </p:par>
                              <p:par>
                                <p:cTn id="53" presetID="63" presetClass="path" presetSubtype="0" accel="50000" decel="50000" fill="hold" grpId="0" nodeType="withEffect">
                                  <p:stCondLst>
                                    <p:cond delay="0"/>
                                  </p:stCondLst>
                                  <p:childTnLst>
                                    <p:animMotion origin="layout" path="M -3.54167E-6 2.22222E-6 L -0.00833 0.19745 " pathEditMode="relative" rAng="0" ptsTypes="AA">
                                      <p:cBhvr>
                                        <p:cTn id="54" dur="1250" fill="hold"/>
                                        <p:tgtEl>
                                          <p:spTgt spid="118"/>
                                        </p:tgtEl>
                                        <p:attrNameLst>
                                          <p:attrName>ppt_x</p:attrName>
                                          <p:attrName>ppt_y</p:attrName>
                                        </p:attrNameLst>
                                      </p:cBhvr>
                                      <p:rCtr x="-417" y="9861"/>
                                    </p:animMotion>
                                  </p:childTnLst>
                                </p:cTn>
                              </p:par>
                            </p:childTnLst>
                          </p:cTn>
                        </p:par>
                        <p:par>
                          <p:cTn id="55" fill="hold">
                            <p:stCondLst>
                              <p:cond delay="7250"/>
                            </p:stCondLst>
                            <p:childTnLst>
                              <p:par>
                                <p:cTn id="56" presetID="22" presetClass="entr" presetSubtype="8" fill="hold" grpId="0" nodeType="afterEffect">
                                  <p:stCondLst>
                                    <p:cond delay="0"/>
                                  </p:stCondLst>
                                  <p:childTnLst>
                                    <p:set>
                                      <p:cBhvr>
                                        <p:cTn id="57" dur="1" fill="hold">
                                          <p:stCondLst>
                                            <p:cond delay="0"/>
                                          </p:stCondLst>
                                        </p:cTn>
                                        <p:tgtEl>
                                          <p:spTgt spid="111"/>
                                        </p:tgtEl>
                                        <p:attrNameLst>
                                          <p:attrName>style.visibility</p:attrName>
                                        </p:attrNameLst>
                                      </p:cBhvr>
                                      <p:to>
                                        <p:strVal val="visible"/>
                                      </p:to>
                                    </p:set>
                                    <p:animEffect transition="in" filter="wipe(left)">
                                      <p:cBhvr>
                                        <p:cTn id="58" dur="250"/>
                                        <p:tgtEl>
                                          <p:spTgt spid="111"/>
                                        </p:tgtEl>
                                      </p:cBhvr>
                                    </p:animEffect>
                                  </p:childTnLst>
                                </p:cTn>
                              </p:par>
                            </p:childTnLst>
                          </p:cTn>
                        </p:par>
                        <p:par>
                          <p:cTn id="59" fill="hold">
                            <p:stCondLst>
                              <p:cond delay="7500"/>
                            </p:stCondLst>
                            <p:childTnLst>
                              <p:par>
                                <p:cTn id="60" presetID="22" presetClass="entr" presetSubtype="8" fill="hold" grpId="0" nodeType="afterEffect">
                                  <p:stCondLst>
                                    <p:cond delay="0"/>
                                  </p:stCondLst>
                                  <p:childTnLst>
                                    <p:set>
                                      <p:cBhvr>
                                        <p:cTn id="61" dur="1" fill="hold">
                                          <p:stCondLst>
                                            <p:cond delay="0"/>
                                          </p:stCondLst>
                                        </p:cTn>
                                        <p:tgtEl>
                                          <p:spTgt spid="112"/>
                                        </p:tgtEl>
                                        <p:attrNameLst>
                                          <p:attrName>style.visibility</p:attrName>
                                        </p:attrNameLst>
                                      </p:cBhvr>
                                      <p:to>
                                        <p:strVal val="visible"/>
                                      </p:to>
                                    </p:set>
                                    <p:animEffect transition="in" filter="wipe(left)">
                                      <p:cBhvr>
                                        <p:cTn id="62" dur="250"/>
                                        <p:tgtEl>
                                          <p:spTgt spid="112"/>
                                        </p:tgtEl>
                                      </p:cBhvr>
                                    </p:animEffect>
                                  </p:childTnLst>
                                </p:cTn>
                              </p:par>
                            </p:childTnLst>
                          </p:cTn>
                        </p:par>
                        <p:par>
                          <p:cTn id="63" fill="hold">
                            <p:stCondLst>
                              <p:cond delay="7750"/>
                            </p:stCondLst>
                            <p:childTnLst>
                              <p:par>
                                <p:cTn id="64" presetID="22" presetClass="entr" presetSubtype="8" fill="hold" grpId="0" nodeType="afterEffect">
                                  <p:stCondLst>
                                    <p:cond delay="0"/>
                                  </p:stCondLst>
                                  <p:childTnLst>
                                    <p:set>
                                      <p:cBhvr>
                                        <p:cTn id="65" dur="1" fill="hold">
                                          <p:stCondLst>
                                            <p:cond delay="0"/>
                                          </p:stCondLst>
                                        </p:cTn>
                                        <p:tgtEl>
                                          <p:spTgt spid="115"/>
                                        </p:tgtEl>
                                        <p:attrNameLst>
                                          <p:attrName>style.visibility</p:attrName>
                                        </p:attrNameLst>
                                      </p:cBhvr>
                                      <p:to>
                                        <p:strVal val="visible"/>
                                      </p:to>
                                    </p:set>
                                    <p:animEffect transition="in" filter="wipe(left)">
                                      <p:cBhvr>
                                        <p:cTn id="66" dur="250"/>
                                        <p:tgtEl>
                                          <p:spTgt spid="115"/>
                                        </p:tgtEl>
                                      </p:cBhvr>
                                    </p:animEffect>
                                  </p:childTnLst>
                                </p:cTn>
                              </p:par>
                            </p:childTnLst>
                          </p:cTn>
                        </p:par>
                        <p:par>
                          <p:cTn id="67" fill="hold">
                            <p:stCondLst>
                              <p:cond delay="8000"/>
                            </p:stCondLst>
                            <p:childTnLst>
                              <p:par>
                                <p:cTn id="68" presetID="22" presetClass="entr" presetSubtype="8" fill="hold" grpId="0" nodeType="afterEffect">
                                  <p:stCondLst>
                                    <p:cond delay="0"/>
                                  </p:stCondLst>
                                  <p:childTnLst>
                                    <p:set>
                                      <p:cBhvr>
                                        <p:cTn id="69" dur="1" fill="hold">
                                          <p:stCondLst>
                                            <p:cond delay="0"/>
                                          </p:stCondLst>
                                        </p:cTn>
                                        <p:tgtEl>
                                          <p:spTgt spid="117"/>
                                        </p:tgtEl>
                                        <p:attrNameLst>
                                          <p:attrName>style.visibility</p:attrName>
                                        </p:attrNameLst>
                                      </p:cBhvr>
                                      <p:to>
                                        <p:strVal val="visible"/>
                                      </p:to>
                                    </p:set>
                                    <p:animEffect transition="in" filter="wipe(left)">
                                      <p:cBhvr>
                                        <p:cTn id="70" dur="250"/>
                                        <p:tgtEl>
                                          <p:spTgt spid="117"/>
                                        </p:tgtEl>
                                      </p:cBhvr>
                                    </p:animEffect>
                                  </p:childTnLst>
                                </p:cTn>
                              </p:par>
                            </p:childTnLst>
                          </p:cTn>
                        </p:par>
                        <p:par>
                          <p:cTn id="71" fill="hold">
                            <p:stCondLst>
                              <p:cond delay="8250"/>
                            </p:stCondLst>
                            <p:childTnLst>
                              <p:par>
                                <p:cTn id="72" presetID="22" presetClass="entr" presetSubtype="8" fill="hold" nodeType="afterEffect">
                                  <p:stCondLst>
                                    <p:cond delay="0"/>
                                  </p:stCondLst>
                                  <p:childTnLst>
                                    <p:set>
                                      <p:cBhvr>
                                        <p:cTn id="73" dur="1" fill="hold">
                                          <p:stCondLst>
                                            <p:cond delay="0"/>
                                          </p:stCondLst>
                                        </p:cTn>
                                        <p:tgtEl>
                                          <p:spTgt spid="119"/>
                                        </p:tgtEl>
                                        <p:attrNameLst>
                                          <p:attrName>style.visibility</p:attrName>
                                        </p:attrNameLst>
                                      </p:cBhvr>
                                      <p:to>
                                        <p:strVal val="visible"/>
                                      </p:to>
                                    </p:set>
                                    <p:animEffect transition="in" filter="wipe(left)">
                                      <p:cBhvr>
                                        <p:cTn id="74" dur="500"/>
                                        <p:tgtEl>
                                          <p:spTgt spid="119"/>
                                        </p:tgtEl>
                                      </p:cBhvr>
                                    </p:animEffect>
                                  </p:childTnLst>
                                </p:cTn>
                              </p:par>
                              <p:par>
                                <p:cTn id="75" presetID="10" presetClass="entr" presetSubtype="0" fill="hold" nodeType="withEffect">
                                  <p:stCondLst>
                                    <p:cond delay="500"/>
                                  </p:stCondLst>
                                  <p:childTnLst>
                                    <p:set>
                                      <p:cBhvr>
                                        <p:cTn id="76" dur="1" fill="hold">
                                          <p:stCondLst>
                                            <p:cond delay="0"/>
                                          </p:stCondLst>
                                        </p:cTn>
                                        <p:tgtEl>
                                          <p:spTgt spid="212"/>
                                        </p:tgtEl>
                                        <p:attrNameLst>
                                          <p:attrName>style.visibility</p:attrName>
                                        </p:attrNameLst>
                                      </p:cBhvr>
                                      <p:to>
                                        <p:strVal val="visible"/>
                                      </p:to>
                                    </p:set>
                                    <p:animEffect transition="in" filter="fade">
                                      <p:cBhvr>
                                        <p:cTn id="77" dur="500"/>
                                        <p:tgtEl>
                                          <p:spTgt spid="212"/>
                                        </p:tgtEl>
                                      </p:cBhvr>
                                    </p:animEffect>
                                  </p:childTnLst>
                                </p:cTn>
                              </p:par>
                              <p:par>
                                <p:cTn id="78" presetID="10" presetClass="entr" presetSubtype="0" fill="hold" grpId="0" nodeType="withEffect">
                                  <p:stCondLst>
                                    <p:cond delay="500"/>
                                  </p:stCondLst>
                                  <p:childTnLst>
                                    <p:set>
                                      <p:cBhvr>
                                        <p:cTn id="79" dur="1" fill="hold">
                                          <p:stCondLst>
                                            <p:cond delay="0"/>
                                          </p:stCondLst>
                                        </p:cTn>
                                        <p:tgtEl>
                                          <p:spTgt spid="113"/>
                                        </p:tgtEl>
                                        <p:attrNameLst>
                                          <p:attrName>style.visibility</p:attrName>
                                        </p:attrNameLst>
                                      </p:cBhvr>
                                      <p:to>
                                        <p:strVal val="visible"/>
                                      </p:to>
                                    </p:set>
                                    <p:animEffect transition="in" filter="fade">
                                      <p:cBhvr>
                                        <p:cTn id="80" dur="500"/>
                                        <p:tgtEl>
                                          <p:spTgt spid="113"/>
                                        </p:tgtEl>
                                      </p:cBhvr>
                                    </p:animEffect>
                                  </p:childTnLst>
                                </p:cTn>
                              </p:par>
                            </p:childTnLst>
                          </p:cTn>
                        </p:par>
                        <p:par>
                          <p:cTn id="81" fill="hold">
                            <p:stCondLst>
                              <p:cond delay="9250"/>
                            </p:stCondLst>
                            <p:childTnLst>
                              <p:par>
                                <p:cTn id="82" presetID="22" presetClass="entr" presetSubtype="8" fill="hold" nodeType="afterEffect">
                                  <p:stCondLst>
                                    <p:cond delay="0"/>
                                  </p:stCondLst>
                                  <p:childTnLst>
                                    <p:set>
                                      <p:cBhvr>
                                        <p:cTn id="83" dur="1" fill="hold">
                                          <p:stCondLst>
                                            <p:cond delay="0"/>
                                          </p:stCondLst>
                                        </p:cTn>
                                        <p:tgtEl>
                                          <p:spTgt spid="116"/>
                                        </p:tgtEl>
                                        <p:attrNameLst>
                                          <p:attrName>style.visibility</p:attrName>
                                        </p:attrNameLst>
                                      </p:cBhvr>
                                      <p:to>
                                        <p:strVal val="visible"/>
                                      </p:to>
                                    </p:set>
                                    <p:animEffect transition="in" filter="wipe(left)">
                                      <p:cBhvr>
                                        <p:cTn id="84" dur="500"/>
                                        <p:tgtEl>
                                          <p:spTgt spid="116"/>
                                        </p:tgtEl>
                                      </p:cBhvr>
                                    </p:animEffect>
                                  </p:childTnLst>
                                </p:cTn>
                              </p:par>
                              <p:par>
                                <p:cTn id="85" presetID="22" presetClass="entr" presetSubtype="8" fill="hold" nodeType="withEffect">
                                  <p:stCondLst>
                                    <p:cond delay="0"/>
                                  </p:stCondLst>
                                  <p:childTnLst>
                                    <p:set>
                                      <p:cBhvr>
                                        <p:cTn id="86" dur="1" fill="hold">
                                          <p:stCondLst>
                                            <p:cond delay="0"/>
                                          </p:stCondLst>
                                        </p:cTn>
                                        <p:tgtEl>
                                          <p:spTgt spid="13"/>
                                        </p:tgtEl>
                                        <p:attrNameLst>
                                          <p:attrName>style.visibility</p:attrName>
                                        </p:attrNameLst>
                                      </p:cBhvr>
                                      <p:to>
                                        <p:strVal val="visible"/>
                                      </p:to>
                                    </p:set>
                                    <p:animEffect transition="in" filter="wipe(left)">
                                      <p:cBhvr>
                                        <p:cTn id="87" dur="500"/>
                                        <p:tgtEl>
                                          <p:spTgt spid="13"/>
                                        </p:tgtEl>
                                      </p:cBhvr>
                                    </p:animEffect>
                                  </p:childTnLst>
                                </p:cTn>
                              </p:par>
                            </p:childTnLst>
                          </p:cTn>
                        </p:par>
                        <p:par>
                          <p:cTn id="88" fill="hold">
                            <p:stCondLst>
                              <p:cond delay="9750"/>
                            </p:stCondLst>
                            <p:childTnLst>
                              <p:par>
                                <p:cTn id="89" presetID="10" presetClass="entr" presetSubtype="0" fill="hold" grpId="0" nodeType="afterEffect">
                                  <p:stCondLst>
                                    <p:cond delay="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138"/>
                                        </p:tgtEl>
                                        <p:attrNameLst>
                                          <p:attrName>style.visibility</p:attrName>
                                        </p:attrNameLst>
                                      </p:cBhvr>
                                      <p:to>
                                        <p:strVal val="visible"/>
                                      </p:to>
                                    </p:set>
                                    <p:animEffect transition="in" filter="fade">
                                      <p:cBhvr>
                                        <p:cTn id="94" dur="500"/>
                                        <p:tgtEl>
                                          <p:spTgt spid="138"/>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93"/>
                                        </p:tgtEl>
                                        <p:attrNameLst>
                                          <p:attrName>style.visibility</p:attrName>
                                        </p:attrNameLst>
                                      </p:cBhvr>
                                      <p:to>
                                        <p:strVal val="visible"/>
                                      </p:to>
                                    </p:set>
                                    <p:animEffect transition="in" filter="fade">
                                      <p:cBhvr>
                                        <p:cTn id="97" dur="500"/>
                                        <p:tgtEl>
                                          <p:spTgt spid="93"/>
                                        </p:tgtEl>
                                      </p:cBhvr>
                                    </p:animEffect>
                                  </p:childTnLst>
                                </p:cTn>
                              </p:par>
                              <p:par>
                                <p:cTn id="98" presetID="10" presetClass="entr" presetSubtype="0" fill="hold" nodeType="withEffect">
                                  <p:stCondLst>
                                    <p:cond delay="0"/>
                                  </p:stCondLst>
                                  <p:childTnLst>
                                    <p:set>
                                      <p:cBhvr>
                                        <p:cTn id="99" dur="1" fill="hold">
                                          <p:stCondLst>
                                            <p:cond delay="0"/>
                                          </p:stCondLst>
                                        </p:cTn>
                                        <p:tgtEl>
                                          <p:spTgt spid="96"/>
                                        </p:tgtEl>
                                        <p:attrNameLst>
                                          <p:attrName>style.visibility</p:attrName>
                                        </p:attrNameLst>
                                      </p:cBhvr>
                                      <p:to>
                                        <p:strVal val="visible"/>
                                      </p:to>
                                    </p:set>
                                    <p:animEffect transition="in" filter="fade">
                                      <p:cBhvr>
                                        <p:cTn id="100"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12" grpId="0"/>
      <p:bldP spid="138" grpId="0" animBg="1"/>
      <p:bldP spid="113" grpId="0"/>
      <p:bldP spid="118" grpId="0" animBg="1"/>
      <p:bldP spid="118" grpId="1" animBg="1"/>
      <p:bldP spid="111" grpId="0" animBg="1"/>
      <p:bldP spid="112" grpId="0" animBg="1"/>
      <p:bldP spid="115" grpId="0" animBg="1"/>
      <p:bldP spid="117" grpId="0" animBg="1"/>
      <p:bldP spid="4" grpId="0"/>
      <p:bldP spid="9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Rectangle 175">
            <a:extLst>
              <a:ext uri="{FF2B5EF4-FFF2-40B4-BE49-F238E27FC236}">
                <a16:creationId xmlns:a16="http://schemas.microsoft.com/office/drawing/2014/main" id="{813CBB39-1601-45D7-8753-B0FDE9723077}"/>
              </a:ext>
            </a:extLst>
          </p:cNvPr>
          <p:cNvSpPr/>
          <p:nvPr/>
        </p:nvSpPr>
        <p:spPr bwMode="auto">
          <a:xfrm>
            <a:off x="10211101" y="2984472"/>
            <a:ext cx="1336978" cy="33572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75" name="Rectangle 174">
            <a:extLst>
              <a:ext uri="{FF2B5EF4-FFF2-40B4-BE49-F238E27FC236}">
                <a16:creationId xmlns:a16="http://schemas.microsoft.com/office/drawing/2014/main" id="{51049005-9633-4D22-826B-41036AF891A5}"/>
              </a:ext>
            </a:extLst>
          </p:cNvPr>
          <p:cNvSpPr/>
          <p:nvPr/>
        </p:nvSpPr>
        <p:spPr bwMode="auto">
          <a:xfrm>
            <a:off x="10211757" y="2560780"/>
            <a:ext cx="1336978" cy="33572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72" name="Rectangle 171">
            <a:extLst>
              <a:ext uri="{FF2B5EF4-FFF2-40B4-BE49-F238E27FC236}">
                <a16:creationId xmlns:a16="http://schemas.microsoft.com/office/drawing/2014/main" id="{7BD1D652-6FAB-4993-9C7D-02D774BF838F}"/>
              </a:ext>
            </a:extLst>
          </p:cNvPr>
          <p:cNvSpPr/>
          <p:nvPr/>
        </p:nvSpPr>
        <p:spPr bwMode="auto">
          <a:xfrm>
            <a:off x="10921327" y="4222898"/>
            <a:ext cx="627408" cy="62740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71" name="Rectangle 70">
            <a:extLst>
              <a:ext uri="{FF2B5EF4-FFF2-40B4-BE49-F238E27FC236}">
                <a16:creationId xmlns:a16="http://schemas.microsoft.com/office/drawing/2014/main" id="{5832C4CB-CF3C-4366-ACA3-D5ABF83853FD}"/>
              </a:ext>
            </a:extLst>
          </p:cNvPr>
          <p:cNvSpPr/>
          <p:nvPr/>
        </p:nvSpPr>
        <p:spPr bwMode="auto">
          <a:xfrm>
            <a:off x="10211757" y="4222898"/>
            <a:ext cx="627408" cy="62740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25" name="Rectangle 24">
            <a:extLst>
              <a:ext uri="{FF2B5EF4-FFF2-40B4-BE49-F238E27FC236}">
                <a16:creationId xmlns:a16="http://schemas.microsoft.com/office/drawing/2014/main" id="{381C7203-2E62-41FA-9034-C12E8D6C64F1}"/>
              </a:ext>
            </a:extLst>
          </p:cNvPr>
          <p:cNvSpPr/>
          <p:nvPr/>
        </p:nvSpPr>
        <p:spPr bwMode="auto">
          <a:xfrm>
            <a:off x="494140" y="1729039"/>
            <a:ext cx="1568521"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Rectangle 1">
            <a:extLst>
              <a:ext uri="{FF2B5EF4-FFF2-40B4-BE49-F238E27FC236}">
                <a16:creationId xmlns:a16="http://schemas.microsoft.com/office/drawing/2014/main" id="{5A5CDB0F-CCB5-44DC-8025-463B2891B210}"/>
              </a:ext>
            </a:extLst>
          </p:cNvPr>
          <p:cNvSpPr/>
          <p:nvPr/>
        </p:nvSpPr>
        <p:spPr bwMode="auto">
          <a:xfrm>
            <a:off x="866" y="5959648"/>
            <a:ext cx="12190271" cy="8885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3B1A8166-54EE-4AB9-A292-9011578D1FF0}"/>
              </a:ext>
            </a:extLst>
          </p:cNvPr>
          <p:cNvSpPr txBox="1"/>
          <p:nvPr/>
        </p:nvSpPr>
        <p:spPr>
          <a:xfrm>
            <a:off x="3266430" y="6150491"/>
            <a:ext cx="1011144" cy="483360"/>
          </a:xfrm>
          <a:prstGeom prst="rect">
            <a:avLst/>
          </a:prstGeom>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371"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ecurity</a:t>
            </a:r>
          </a:p>
        </p:txBody>
      </p:sp>
      <p:sp>
        <p:nvSpPr>
          <p:cNvPr id="6" name="TextBox 5">
            <a:extLst>
              <a:ext uri="{FF2B5EF4-FFF2-40B4-BE49-F238E27FC236}">
                <a16:creationId xmlns:a16="http://schemas.microsoft.com/office/drawing/2014/main" id="{3DCD90A0-6E41-4611-AE39-3A3D5DBF5D48}"/>
              </a:ext>
            </a:extLst>
          </p:cNvPr>
          <p:cNvSpPr txBox="1"/>
          <p:nvPr/>
        </p:nvSpPr>
        <p:spPr>
          <a:xfrm>
            <a:off x="4666153" y="6150491"/>
            <a:ext cx="1030378" cy="483360"/>
          </a:xfrm>
          <a:prstGeom prst="rect">
            <a:avLst/>
          </a:prstGeom>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371"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Logging</a:t>
            </a:r>
          </a:p>
        </p:txBody>
      </p:sp>
      <p:sp>
        <p:nvSpPr>
          <p:cNvPr id="7" name="TextBox 6">
            <a:extLst>
              <a:ext uri="{FF2B5EF4-FFF2-40B4-BE49-F238E27FC236}">
                <a16:creationId xmlns:a16="http://schemas.microsoft.com/office/drawing/2014/main" id="{BB605235-EB03-4476-BC9D-8F55C61D34CA}"/>
              </a:ext>
            </a:extLst>
          </p:cNvPr>
          <p:cNvSpPr txBox="1"/>
          <p:nvPr/>
        </p:nvSpPr>
        <p:spPr>
          <a:xfrm>
            <a:off x="6089320" y="6150491"/>
            <a:ext cx="1062433" cy="483360"/>
          </a:xfrm>
          <a:prstGeom prst="rect">
            <a:avLst/>
          </a:prstGeom>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371"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uditing</a:t>
            </a:r>
          </a:p>
        </p:txBody>
      </p:sp>
      <p:sp>
        <p:nvSpPr>
          <p:cNvPr id="8" name="TextBox 7">
            <a:extLst>
              <a:ext uri="{FF2B5EF4-FFF2-40B4-BE49-F238E27FC236}">
                <a16:creationId xmlns:a16="http://schemas.microsoft.com/office/drawing/2014/main" id="{3FA42E1A-C3F0-4B67-A0DF-7676E7C5A88A}"/>
              </a:ext>
            </a:extLst>
          </p:cNvPr>
          <p:cNvSpPr txBox="1"/>
          <p:nvPr/>
        </p:nvSpPr>
        <p:spPr>
          <a:xfrm>
            <a:off x="7559427" y="6150491"/>
            <a:ext cx="1264960" cy="483360"/>
          </a:xfrm>
          <a:prstGeom prst="rect">
            <a:avLst/>
          </a:prstGeom>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371"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Integration</a:t>
            </a:r>
          </a:p>
        </p:txBody>
      </p:sp>
      <p:grpSp>
        <p:nvGrpSpPr>
          <p:cNvPr id="15" name="Group 14">
            <a:extLst>
              <a:ext uri="{FF2B5EF4-FFF2-40B4-BE49-F238E27FC236}">
                <a16:creationId xmlns:a16="http://schemas.microsoft.com/office/drawing/2014/main" id="{B2B03883-3273-46F8-9B29-D7CAB6958102}"/>
              </a:ext>
            </a:extLst>
          </p:cNvPr>
          <p:cNvGrpSpPr/>
          <p:nvPr/>
        </p:nvGrpSpPr>
        <p:grpSpPr>
          <a:xfrm>
            <a:off x="4496213" y="6223673"/>
            <a:ext cx="2866068" cy="333506"/>
            <a:chOff x="4008437" y="6282761"/>
            <a:chExt cx="2923954" cy="490179"/>
          </a:xfrm>
        </p:grpSpPr>
        <p:cxnSp>
          <p:nvCxnSpPr>
            <p:cNvPr id="11" name="Straight Connector 10">
              <a:extLst>
                <a:ext uri="{FF2B5EF4-FFF2-40B4-BE49-F238E27FC236}">
                  <a16:creationId xmlns:a16="http://schemas.microsoft.com/office/drawing/2014/main" id="{5B3E32C9-6683-410B-974F-50CA87F54DBD}"/>
                </a:ext>
              </a:extLst>
            </p:cNvPr>
            <p:cNvCxnSpPr/>
            <p:nvPr/>
          </p:nvCxnSpPr>
          <p:spPr>
            <a:xfrm>
              <a:off x="4008437" y="6282761"/>
              <a:ext cx="0" cy="490179"/>
            </a:xfrm>
            <a:prstGeom prst="line">
              <a:avLst/>
            </a:prstGeom>
            <a:ln w="19050">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370139C-615B-4A64-96DC-ACCD5805BA37}"/>
                </a:ext>
              </a:extLst>
            </p:cNvPr>
            <p:cNvCxnSpPr/>
            <p:nvPr/>
          </p:nvCxnSpPr>
          <p:spPr>
            <a:xfrm>
              <a:off x="5486363" y="6282761"/>
              <a:ext cx="0" cy="490179"/>
            </a:xfrm>
            <a:prstGeom prst="line">
              <a:avLst/>
            </a:prstGeom>
            <a:ln w="19050">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400DEB3-88C5-48BF-A9A9-4DCBE56E7CCF}"/>
                </a:ext>
              </a:extLst>
            </p:cNvPr>
            <p:cNvCxnSpPr/>
            <p:nvPr/>
          </p:nvCxnSpPr>
          <p:spPr>
            <a:xfrm>
              <a:off x="6932391" y="6282761"/>
              <a:ext cx="0" cy="490179"/>
            </a:xfrm>
            <a:prstGeom prst="line">
              <a:avLst/>
            </a:prstGeom>
            <a:ln w="19050">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6" name="speech_2">
            <a:extLst>
              <a:ext uri="{FF2B5EF4-FFF2-40B4-BE49-F238E27FC236}">
                <a16:creationId xmlns:a16="http://schemas.microsoft.com/office/drawing/2014/main" id="{B0930224-CD0A-4FF8-9490-B092A006CAAB}"/>
              </a:ext>
            </a:extLst>
          </p:cNvPr>
          <p:cNvSpPr>
            <a:spLocks noChangeAspect="1" noEditPoints="1"/>
          </p:cNvSpPr>
          <p:nvPr/>
        </p:nvSpPr>
        <p:spPr bwMode="auto">
          <a:xfrm>
            <a:off x="1125030" y="2233937"/>
            <a:ext cx="302387" cy="295498"/>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17" name="people_11">
            <a:extLst>
              <a:ext uri="{FF2B5EF4-FFF2-40B4-BE49-F238E27FC236}">
                <a16:creationId xmlns:a16="http://schemas.microsoft.com/office/drawing/2014/main" id="{BCAEB8DA-CD81-4ADB-9B9F-205D46154955}"/>
              </a:ext>
            </a:extLst>
          </p:cNvPr>
          <p:cNvSpPr>
            <a:spLocks noChangeAspect="1" noEditPoints="1"/>
          </p:cNvSpPr>
          <p:nvPr/>
        </p:nvSpPr>
        <p:spPr bwMode="auto">
          <a:xfrm>
            <a:off x="1129970" y="3218050"/>
            <a:ext cx="297447" cy="285642"/>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9050"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18" name="camera">
            <a:extLst>
              <a:ext uri="{FF2B5EF4-FFF2-40B4-BE49-F238E27FC236}">
                <a16:creationId xmlns:a16="http://schemas.microsoft.com/office/drawing/2014/main" id="{88AC7E1B-5546-4580-9895-7F4D2A04019E}"/>
              </a:ext>
            </a:extLst>
          </p:cNvPr>
          <p:cNvSpPr>
            <a:spLocks noChangeAspect="1" noEditPoints="1"/>
          </p:cNvSpPr>
          <p:nvPr/>
        </p:nvSpPr>
        <p:spPr bwMode="auto">
          <a:xfrm>
            <a:off x="1129383" y="4360974"/>
            <a:ext cx="298033" cy="238935"/>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a:ea typeface="+mn-ea"/>
              <a:cs typeface="+mn-cs"/>
            </a:endParaRPr>
          </a:p>
        </p:txBody>
      </p:sp>
      <p:sp>
        <p:nvSpPr>
          <p:cNvPr id="19" name="TextBox 18">
            <a:extLst>
              <a:ext uri="{FF2B5EF4-FFF2-40B4-BE49-F238E27FC236}">
                <a16:creationId xmlns:a16="http://schemas.microsoft.com/office/drawing/2014/main" id="{0A989110-7756-4409-A23D-5CA0C1E50BB8}"/>
              </a:ext>
            </a:extLst>
          </p:cNvPr>
          <p:cNvSpPr txBox="1"/>
          <p:nvPr/>
        </p:nvSpPr>
        <p:spPr>
          <a:xfrm>
            <a:off x="962261" y="2499240"/>
            <a:ext cx="632279" cy="438950"/>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Text</a:t>
            </a:r>
          </a:p>
        </p:txBody>
      </p:sp>
      <p:sp>
        <p:nvSpPr>
          <p:cNvPr id="20" name="TextBox 19">
            <a:extLst>
              <a:ext uri="{FF2B5EF4-FFF2-40B4-BE49-F238E27FC236}">
                <a16:creationId xmlns:a16="http://schemas.microsoft.com/office/drawing/2014/main" id="{5AFF019C-AA61-496A-94C8-F10C7375AC04}"/>
              </a:ext>
            </a:extLst>
          </p:cNvPr>
          <p:cNvSpPr txBox="1"/>
          <p:nvPr/>
        </p:nvSpPr>
        <p:spPr>
          <a:xfrm>
            <a:off x="871914" y="3453648"/>
            <a:ext cx="812973" cy="438950"/>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peech</a:t>
            </a:r>
          </a:p>
        </p:txBody>
      </p:sp>
      <p:sp>
        <p:nvSpPr>
          <p:cNvPr id="21" name="TextBox 20">
            <a:extLst>
              <a:ext uri="{FF2B5EF4-FFF2-40B4-BE49-F238E27FC236}">
                <a16:creationId xmlns:a16="http://schemas.microsoft.com/office/drawing/2014/main" id="{3D8B85D7-8182-42BE-97A6-F6E2A6114C44}"/>
              </a:ext>
            </a:extLst>
          </p:cNvPr>
          <p:cNvSpPr txBox="1"/>
          <p:nvPr/>
        </p:nvSpPr>
        <p:spPr>
          <a:xfrm>
            <a:off x="900981" y="4525370"/>
            <a:ext cx="754838" cy="438950"/>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Image</a:t>
            </a:r>
          </a:p>
        </p:txBody>
      </p:sp>
      <p:sp>
        <p:nvSpPr>
          <p:cNvPr id="23" name="TextBox 22">
            <a:extLst>
              <a:ext uri="{FF2B5EF4-FFF2-40B4-BE49-F238E27FC236}">
                <a16:creationId xmlns:a16="http://schemas.microsoft.com/office/drawing/2014/main" id="{EAC5BD6F-C433-48AF-9065-D1ECD7227895}"/>
              </a:ext>
            </a:extLst>
          </p:cNvPr>
          <p:cNvSpPr txBox="1"/>
          <p:nvPr/>
        </p:nvSpPr>
        <p:spPr>
          <a:xfrm>
            <a:off x="494140" y="1262948"/>
            <a:ext cx="1568521"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29"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User Input</a:t>
            </a:r>
          </a:p>
        </p:txBody>
      </p:sp>
      <p:sp>
        <p:nvSpPr>
          <p:cNvPr id="28" name="Rectangle 27">
            <a:extLst>
              <a:ext uri="{FF2B5EF4-FFF2-40B4-BE49-F238E27FC236}">
                <a16:creationId xmlns:a16="http://schemas.microsoft.com/office/drawing/2014/main" id="{E970597B-DBC5-4025-B62A-E9304DEB47EE}"/>
              </a:ext>
            </a:extLst>
          </p:cNvPr>
          <p:cNvSpPr/>
          <p:nvPr/>
        </p:nvSpPr>
        <p:spPr bwMode="auto">
          <a:xfrm>
            <a:off x="2380535" y="1729039"/>
            <a:ext cx="1568521"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26" name="Picture 2" descr="Image result for facebook messenger logo png">
            <a:extLst>
              <a:ext uri="{FF2B5EF4-FFF2-40B4-BE49-F238E27FC236}">
                <a16:creationId xmlns:a16="http://schemas.microsoft.com/office/drawing/2014/main" id="{4B7E83F6-3693-48FF-AAEC-DB8E599181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92869" y="4022545"/>
            <a:ext cx="336249" cy="33925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logo skype">
            <a:extLst>
              <a:ext uri="{FF2B5EF4-FFF2-40B4-BE49-F238E27FC236}">
                <a16:creationId xmlns:a16="http://schemas.microsoft.com/office/drawing/2014/main" id="{E9C66D86-94BA-4709-BFB1-CB5A5A3468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54656" y="2514766"/>
            <a:ext cx="412673" cy="41304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cortana logo png">
            <a:extLst>
              <a:ext uri="{FF2B5EF4-FFF2-40B4-BE49-F238E27FC236}">
                <a16:creationId xmlns:a16="http://schemas.microsoft.com/office/drawing/2014/main" id="{ECCA9804-E5C4-4B37-96D1-B3635338F6D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49280" y="1923519"/>
            <a:ext cx="423427" cy="423427"/>
          </a:xfrm>
          <a:prstGeom prst="rect">
            <a:avLst/>
          </a:prstGeom>
          <a:noFill/>
          <a:extLst>
            <a:ext uri="{909E8E84-426E-40DD-AFC4-6F175D3DCCD1}">
              <a14:hiddenFill xmlns:a14="http://schemas.microsoft.com/office/drawing/2010/main">
                <a:solidFill>
                  <a:srgbClr val="FFFFFF"/>
                </a:solidFill>
              </a14:hiddenFill>
            </a:ext>
          </a:extLst>
        </p:spPr>
      </p:pic>
      <p:sp>
        <p:nvSpPr>
          <p:cNvPr id="29" name="Oval 28">
            <a:extLst>
              <a:ext uri="{FF2B5EF4-FFF2-40B4-BE49-F238E27FC236}">
                <a16:creationId xmlns:a16="http://schemas.microsoft.com/office/drawing/2014/main" id="{3B77E114-642B-41F8-BD98-DA9BB5BD69BD}"/>
              </a:ext>
            </a:extLst>
          </p:cNvPr>
          <p:cNvSpPr/>
          <p:nvPr/>
        </p:nvSpPr>
        <p:spPr bwMode="auto">
          <a:xfrm>
            <a:off x="2886258" y="5115468"/>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0C4C0541-6ECB-46ED-A675-72E7983D55B1}"/>
              </a:ext>
            </a:extLst>
          </p:cNvPr>
          <p:cNvSpPr/>
          <p:nvPr/>
        </p:nvSpPr>
        <p:spPr bwMode="auto">
          <a:xfrm>
            <a:off x="999864" y="5115468"/>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people_4">
            <a:extLst>
              <a:ext uri="{FF2B5EF4-FFF2-40B4-BE49-F238E27FC236}">
                <a16:creationId xmlns:a16="http://schemas.microsoft.com/office/drawing/2014/main" id="{972D97FB-3D30-4BB1-8EA2-B29839108EB1}"/>
              </a:ext>
            </a:extLst>
          </p:cNvPr>
          <p:cNvSpPr>
            <a:spLocks noChangeAspect="1" noEditPoints="1"/>
          </p:cNvSpPr>
          <p:nvPr/>
        </p:nvSpPr>
        <p:spPr bwMode="auto">
          <a:xfrm>
            <a:off x="1162503" y="5264433"/>
            <a:ext cx="231794" cy="25914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39" name="TextBox 38">
            <a:extLst>
              <a:ext uri="{FF2B5EF4-FFF2-40B4-BE49-F238E27FC236}">
                <a16:creationId xmlns:a16="http://schemas.microsoft.com/office/drawing/2014/main" id="{9B91DB33-2C19-450B-8F26-AF590F7183C8}"/>
              </a:ext>
            </a:extLst>
          </p:cNvPr>
          <p:cNvSpPr txBox="1"/>
          <p:nvPr/>
        </p:nvSpPr>
        <p:spPr>
          <a:xfrm>
            <a:off x="2374354" y="1262948"/>
            <a:ext cx="1580880"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29"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hannels</a:t>
            </a:r>
          </a:p>
        </p:txBody>
      </p:sp>
      <p:sp>
        <p:nvSpPr>
          <p:cNvPr id="43" name="Rectangle 42">
            <a:extLst>
              <a:ext uri="{FF2B5EF4-FFF2-40B4-BE49-F238E27FC236}">
                <a16:creationId xmlns:a16="http://schemas.microsoft.com/office/drawing/2014/main" id="{A5A2FF3D-D4BC-4E36-A715-05F59567B694}"/>
              </a:ext>
            </a:extLst>
          </p:cNvPr>
          <p:cNvSpPr/>
          <p:nvPr/>
        </p:nvSpPr>
        <p:spPr bwMode="auto">
          <a:xfrm>
            <a:off x="9999063" y="1729039"/>
            <a:ext cx="1743923"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589F4CA9-9037-40E3-AD3E-4022F787BD88}"/>
              </a:ext>
            </a:extLst>
          </p:cNvPr>
          <p:cNvSpPr/>
          <p:nvPr/>
        </p:nvSpPr>
        <p:spPr bwMode="auto">
          <a:xfrm>
            <a:off x="10606008" y="5115468"/>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1" name="TextBox 50">
            <a:extLst>
              <a:ext uri="{FF2B5EF4-FFF2-40B4-BE49-F238E27FC236}">
                <a16:creationId xmlns:a16="http://schemas.microsoft.com/office/drawing/2014/main" id="{9338B613-D258-424B-93AF-C9B9654CA8A3}"/>
              </a:ext>
            </a:extLst>
          </p:cNvPr>
          <p:cNvSpPr txBox="1"/>
          <p:nvPr/>
        </p:nvSpPr>
        <p:spPr>
          <a:xfrm>
            <a:off x="9802406" y="1262948"/>
            <a:ext cx="2066047"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29"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Business Process</a:t>
            </a:r>
          </a:p>
        </p:txBody>
      </p:sp>
      <p:sp>
        <p:nvSpPr>
          <p:cNvPr id="55" name="Trackers_EADF">
            <a:extLst>
              <a:ext uri="{FF2B5EF4-FFF2-40B4-BE49-F238E27FC236}">
                <a16:creationId xmlns:a16="http://schemas.microsoft.com/office/drawing/2014/main" id="{B4CE4CF8-E8AC-4B66-AE3C-ABE51B8A44EA}"/>
              </a:ext>
            </a:extLst>
          </p:cNvPr>
          <p:cNvSpPr>
            <a:spLocks noChangeAspect="1" noEditPoints="1"/>
          </p:cNvSpPr>
          <p:nvPr/>
        </p:nvSpPr>
        <p:spPr bwMode="auto">
          <a:xfrm>
            <a:off x="10774177" y="5243513"/>
            <a:ext cx="220736" cy="300984"/>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pic>
        <p:nvPicPr>
          <p:cNvPr id="1036" name="Picture 12" descr="Image result for sql logo">
            <a:extLst>
              <a:ext uri="{FF2B5EF4-FFF2-40B4-BE49-F238E27FC236}">
                <a16:creationId xmlns:a16="http://schemas.microsoft.com/office/drawing/2014/main" id="{3343F143-2136-4A36-B32B-3173F362E12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36519" y="4338391"/>
            <a:ext cx="377886" cy="39642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Image result for azure table storage logo">
            <a:extLst>
              <a:ext uri="{FF2B5EF4-FFF2-40B4-BE49-F238E27FC236}">
                <a16:creationId xmlns:a16="http://schemas.microsoft.com/office/drawing/2014/main" id="{95236328-4454-4970-B92A-83DE3725B4B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025724" y="4314752"/>
            <a:ext cx="443699" cy="443699"/>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Image result for aws logo png">
            <a:extLst>
              <a:ext uri="{FF2B5EF4-FFF2-40B4-BE49-F238E27FC236}">
                <a16:creationId xmlns:a16="http://schemas.microsoft.com/office/drawing/2014/main" id="{C1C336DB-1FCB-4972-9A93-298B1981B23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9033" y="2612166"/>
            <a:ext cx="561115" cy="211010"/>
          </a:xfrm>
          <a:prstGeom prst="rect">
            <a:avLst/>
          </a:prstGeom>
          <a:noFill/>
          <a:extLst>
            <a:ext uri="{909E8E84-426E-40DD-AFC4-6F175D3DCCD1}">
              <a14:hiddenFill xmlns:a14="http://schemas.microsoft.com/office/drawing/2010/main">
                <a:solidFill>
                  <a:srgbClr val="FFFFFF"/>
                </a:solidFill>
              </a14:hiddenFill>
            </a:ext>
          </a:extLst>
        </p:spPr>
      </p:pic>
      <p:sp>
        <p:nvSpPr>
          <p:cNvPr id="67" name="building_4">
            <a:extLst>
              <a:ext uri="{FF2B5EF4-FFF2-40B4-BE49-F238E27FC236}">
                <a16:creationId xmlns:a16="http://schemas.microsoft.com/office/drawing/2014/main" id="{DC54346D-6FE1-497F-BAB2-878AA2668BF7}"/>
              </a:ext>
            </a:extLst>
          </p:cNvPr>
          <p:cNvSpPr>
            <a:spLocks noChangeAspect="1" noEditPoints="1"/>
          </p:cNvSpPr>
          <p:nvPr/>
        </p:nvSpPr>
        <p:spPr bwMode="auto">
          <a:xfrm>
            <a:off x="10461557" y="3045269"/>
            <a:ext cx="200201" cy="203353"/>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68" name="TextBox 67">
            <a:extLst>
              <a:ext uri="{FF2B5EF4-FFF2-40B4-BE49-F238E27FC236}">
                <a16:creationId xmlns:a16="http://schemas.microsoft.com/office/drawing/2014/main" id="{DADF3261-F356-483D-A997-C65B2B413B85}"/>
              </a:ext>
            </a:extLst>
          </p:cNvPr>
          <p:cNvSpPr txBox="1"/>
          <p:nvPr/>
        </p:nvSpPr>
        <p:spPr>
          <a:xfrm>
            <a:off x="10763633" y="3107396"/>
            <a:ext cx="524182" cy="108619"/>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On premise</a:t>
            </a:r>
          </a:p>
        </p:txBody>
      </p:sp>
      <p:sp>
        <p:nvSpPr>
          <p:cNvPr id="72" name="TextBox 71">
            <a:extLst>
              <a:ext uri="{FF2B5EF4-FFF2-40B4-BE49-F238E27FC236}">
                <a16:creationId xmlns:a16="http://schemas.microsoft.com/office/drawing/2014/main" id="{49D08BC9-2964-452E-A8A6-5E28D046419C}"/>
              </a:ext>
            </a:extLst>
          </p:cNvPr>
          <p:cNvSpPr txBox="1"/>
          <p:nvPr/>
        </p:nvSpPr>
        <p:spPr>
          <a:xfrm>
            <a:off x="10605716" y="1874011"/>
            <a:ext cx="585097" cy="142347"/>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LOB Apps</a:t>
            </a:r>
          </a:p>
        </p:txBody>
      </p:sp>
      <p:sp>
        <p:nvSpPr>
          <p:cNvPr id="73" name="TextBox 72">
            <a:extLst>
              <a:ext uri="{FF2B5EF4-FFF2-40B4-BE49-F238E27FC236}">
                <a16:creationId xmlns:a16="http://schemas.microsoft.com/office/drawing/2014/main" id="{8D921DC8-642F-4B63-AA91-30742A5FCD2F}"/>
              </a:ext>
            </a:extLst>
          </p:cNvPr>
          <p:cNvSpPr txBox="1"/>
          <p:nvPr/>
        </p:nvSpPr>
        <p:spPr>
          <a:xfrm>
            <a:off x="10344378" y="3993589"/>
            <a:ext cx="995465" cy="142347"/>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Enterprise stores</a:t>
            </a:r>
          </a:p>
        </p:txBody>
      </p:sp>
      <p:sp>
        <p:nvSpPr>
          <p:cNvPr id="74" name="Rectangle 73">
            <a:extLst>
              <a:ext uri="{FF2B5EF4-FFF2-40B4-BE49-F238E27FC236}">
                <a16:creationId xmlns:a16="http://schemas.microsoft.com/office/drawing/2014/main" id="{BC7FE81A-FF54-4D9C-A634-191CECEFCE98}"/>
              </a:ext>
            </a:extLst>
          </p:cNvPr>
          <p:cNvSpPr/>
          <p:nvPr/>
        </p:nvSpPr>
        <p:spPr bwMode="auto">
          <a:xfrm>
            <a:off x="4286011" y="1729039"/>
            <a:ext cx="5382277"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8" name="TextBox 77">
            <a:extLst>
              <a:ext uri="{FF2B5EF4-FFF2-40B4-BE49-F238E27FC236}">
                <a16:creationId xmlns:a16="http://schemas.microsoft.com/office/drawing/2014/main" id="{E89A709B-791C-4694-B473-99F9C842D326}"/>
              </a:ext>
            </a:extLst>
          </p:cNvPr>
          <p:cNvSpPr txBox="1"/>
          <p:nvPr/>
        </p:nvSpPr>
        <p:spPr>
          <a:xfrm>
            <a:off x="4279832" y="1262948"/>
            <a:ext cx="5382277"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0"/>
              </a:spcAft>
              <a:buClrTx/>
              <a:buSzTx/>
              <a:buFontTx/>
              <a:buNone/>
              <a:tabLst/>
              <a:defRPr/>
            </a:pPr>
            <a:r>
              <a:rPr kumimoji="0" lang="en-US" sz="1729"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Bot Intelligence</a:t>
            </a:r>
          </a:p>
        </p:txBody>
      </p:sp>
      <p:sp>
        <p:nvSpPr>
          <p:cNvPr id="79" name="Oval 78">
            <a:extLst>
              <a:ext uri="{FF2B5EF4-FFF2-40B4-BE49-F238E27FC236}">
                <a16:creationId xmlns:a16="http://schemas.microsoft.com/office/drawing/2014/main" id="{52B4D34B-0DAE-436F-B0B5-F1E649F4E84E}"/>
              </a:ext>
            </a:extLst>
          </p:cNvPr>
          <p:cNvSpPr/>
          <p:nvPr/>
        </p:nvSpPr>
        <p:spPr bwMode="auto">
          <a:xfrm>
            <a:off x="6698613" y="5115468"/>
            <a:ext cx="557073" cy="557073"/>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2" name="Brain_3">
            <a:extLst>
              <a:ext uri="{FF2B5EF4-FFF2-40B4-BE49-F238E27FC236}">
                <a16:creationId xmlns:a16="http://schemas.microsoft.com/office/drawing/2014/main" id="{C110B3BE-D492-4805-B37A-EE44B831C604}"/>
              </a:ext>
            </a:extLst>
          </p:cNvPr>
          <p:cNvSpPr>
            <a:spLocks noChangeAspect="1" noEditPoints="1"/>
          </p:cNvSpPr>
          <p:nvPr/>
        </p:nvSpPr>
        <p:spPr bwMode="auto">
          <a:xfrm>
            <a:off x="6481553" y="3116668"/>
            <a:ext cx="777212" cy="835711"/>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58" name="Oval 57">
            <a:extLst>
              <a:ext uri="{FF2B5EF4-FFF2-40B4-BE49-F238E27FC236}">
                <a16:creationId xmlns:a16="http://schemas.microsoft.com/office/drawing/2014/main" id="{C456E015-71A8-4D33-8736-BC26D5B40CB8}"/>
              </a:ext>
            </a:extLst>
          </p:cNvPr>
          <p:cNvSpPr/>
          <p:nvPr/>
        </p:nvSpPr>
        <p:spPr bwMode="auto">
          <a:xfrm rot="20445667">
            <a:off x="6169188" y="2833553"/>
            <a:ext cx="1401941" cy="1401941"/>
          </a:xfrm>
          <a:prstGeom prst="ellipse">
            <a:avLst/>
          </a:prstGeom>
          <a:no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0" name="TextBox 99">
            <a:extLst>
              <a:ext uri="{FF2B5EF4-FFF2-40B4-BE49-F238E27FC236}">
                <a16:creationId xmlns:a16="http://schemas.microsoft.com/office/drawing/2014/main" id="{40BC3B52-C8B3-444E-8FAB-22412E40D9D7}"/>
              </a:ext>
            </a:extLst>
          </p:cNvPr>
          <p:cNvSpPr txBox="1"/>
          <p:nvPr/>
        </p:nvSpPr>
        <p:spPr>
          <a:xfrm>
            <a:off x="4709284" y="2934479"/>
            <a:ext cx="432812" cy="142347"/>
          </a:xfrm>
          <a:prstGeom prst="rect">
            <a:avLst/>
          </a:prstGeom>
          <a:noFill/>
        </p:spPr>
        <p:txBody>
          <a:bodyPr wrap="none" lIns="0" tIns="0" rIns="0" bIns="0" rtlCol="0">
            <a:spAutoFit/>
          </a:bodyPr>
          <a:lstStyle/>
          <a:p>
            <a:pPr marL="0" marR="0" lvl="0" indent="0" algn="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peech</a:t>
            </a:r>
          </a:p>
        </p:txBody>
      </p:sp>
      <p:sp>
        <p:nvSpPr>
          <p:cNvPr id="84" name="Oval 83">
            <a:extLst>
              <a:ext uri="{FF2B5EF4-FFF2-40B4-BE49-F238E27FC236}">
                <a16:creationId xmlns:a16="http://schemas.microsoft.com/office/drawing/2014/main" id="{1E8D9388-CCB1-49B8-9509-569084D59FD2}"/>
              </a:ext>
            </a:extLst>
          </p:cNvPr>
          <p:cNvSpPr/>
          <p:nvPr/>
        </p:nvSpPr>
        <p:spPr bwMode="auto">
          <a:xfrm rot="788405">
            <a:off x="5277320" y="2702669"/>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01" name="Group 100">
            <a:extLst>
              <a:ext uri="{FF2B5EF4-FFF2-40B4-BE49-F238E27FC236}">
                <a16:creationId xmlns:a16="http://schemas.microsoft.com/office/drawing/2014/main" id="{ABDBE43F-5DD6-4D82-9D11-0069E5755239}"/>
              </a:ext>
            </a:extLst>
          </p:cNvPr>
          <p:cNvGrpSpPr>
            <a:grpSpLocks noChangeAspect="1"/>
          </p:cNvGrpSpPr>
          <p:nvPr/>
        </p:nvGrpSpPr>
        <p:grpSpPr bwMode="auto">
          <a:xfrm>
            <a:off x="5394399" y="2868004"/>
            <a:ext cx="319597" cy="273501"/>
            <a:chOff x="1" y="3"/>
            <a:chExt cx="2697" cy="2308"/>
          </a:xfrm>
          <a:solidFill>
            <a:schemeClr val="tx1"/>
          </a:solidFill>
        </p:grpSpPr>
        <p:sp>
          <p:nvSpPr>
            <p:cNvPr id="102" name="Freeform 5">
              <a:extLst>
                <a:ext uri="{FF2B5EF4-FFF2-40B4-BE49-F238E27FC236}">
                  <a16:creationId xmlns:a16="http://schemas.microsoft.com/office/drawing/2014/main" id="{DC6B24CC-1BCA-472B-AE77-BE7A6294185E}"/>
                </a:ext>
              </a:extLst>
            </p:cNvPr>
            <p:cNvSpPr>
              <a:spLocks noEditPoints="1"/>
            </p:cNvSpPr>
            <p:nvPr/>
          </p:nvSpPr>
          <p:spPr bwMode="auto">
            <a:xfrm>
              <a:off x="617" y="808"/>
              <a:ext cx="1466" cy="333"/>
            </a:xfrm>
            <a:custGeom>
              <a:avLst/>
              <a:gdLst>
                <a:gd name="T0" fmla="*/ 80 w 705"/>
                <a:gd name="T1" fmla="*/ 0 h 160"/>
                <a:gd name="T2" fmla="*/ 137 w 705"/>
                <a:gd name="T3" fmla="*/ 23 h 160"/>
                <a:gd name="T4" fmla="*/ 159 w 705"/>
                <a:gd name="T5" fmla="*/ 80 h 160"/>
                <a:gd name="T6" fmla="*/ 137 w 705"/>
                <a:gd name="T7" fmla="*/ 137 h 160"/>
                <a:gd name="T8" fmla="*/ 80 w 705"/>
                <a:gd name="T9" fmla="*/ 160 h 160"/>
                <a:gd name="T10" fmla="*/ 22 w 705"/>
                <a:gd name="T11" fmla="*/ 136 h 160"/>
                <a:gd name="T12" fmla="*/ 0 w 705"/>
                <a:gd name="T13" fmla="*/ 80 h 160"/>
                <a:gd name="T14" fmla="*/ 23 w 705"/>
                <a:gd name="T15" fmla="*/ 23 h 160"/>
                <a:gd name="T16" fmla="*/ 80 w 705"/>
                <a:gd name="T17" fmla="*/ 0 h 160"/>
                <a:gd name="T18" fmla="*/ 353 w 705"/>
                <a:gd name="T19" fmla="*/ 0 h 160"/>
                <a:gd name="T20" fmla="*/ 410 w 705"/>
                <a:gd name="T21" fmla="*/ 23 h 160"/>
                <a:gd name="T22" fmla="*/ 432 w 705"/>
                <a:gd name="T23" fmla="*/ 80 h 160"/>
                <a:gd name="T24" fmla="*/ 410 w 705"/>
                <a:gd name="T25" fmla="*/ 137 h 160"/>
                <a:gd name="T26" fmla="*/ 353 w 705"/>
                <a:gd name="T27" fmla="*/ 160 h 160"/>
                <a:gd name="T28" fmla="*/ 295 w 705"/>
                <a:gd name="T29" fmla="*/ 136 h 160"/>
                <a:gd name="T30" fmla="*/ 273 w 705"/>
                <a:gd name="T31" fmla="*/ 80 h 160"/>
                <a:gd name="T32" fmla="*/ 296 w 705"/>
                <a:gd name="T33" fmla="*/ 23 h 160"/>
                <a:gd name="T34" fmla="*/ 353 w 705"/>
                <a:gd name="T35" fmla="*/ 0 h 160"/>
                <a:gd name="T36" fmla="*/ 626 w 705"/>
                <a:gd name="T37" fmla="*/ 0 h 160"/>
                <a:gd name="T38" fmla="*/ 683 w 705"/>
                <a:gd name="T39" fmla="*/ 23 h 160"/>
                <a:gd name="T40" fmla="*/ 705 w 705"/>
                <a:gd name="T41" fmla="*/ 80 h 160"/>
                <a:gd name="T42" fmla="*/ 683 w 705"/>
                <a:gd name="T43" fmla="*/ 137 h 160"/>
                <a:gd name="T44" fmla="*/ 626 w 705"/>
                <a:gd name="T45" fmla="*/ 160 h 160"/>
                <a:gd name="T46" fmla="*/ 568 w 705"/>
                <a:gd name="T47" fmla="*/ 136 h 160"/>
                <a:gd name="T48" fmla="*/ 546 w 705"/>
                <a:gd name="T49" fmla="*/ 80 h 160"/>
                <a:gd name="T50" fmla="*/ 569 w 705"/>
                <a:gd name="T51" fmla="*/ 23 h 160"/>
                <a:gd name="T52" fmla="*/ 626 w 705"/>
                <a:gd name="T5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5" h="160">
                  <a:moveTo>
                    <a:pt x="80" y="0"/>
                  </a:moveTo>
                  <a:cubicBezTo>
                    <a:pt x="103" y="0"/>
                    <a:pt x="122" y="8"/>
                    <a:pt x="137" y="23"/>
                  </a:cubicBezTo>
                  <a:cubicBezTo>
                    <a:pt x="152" y="38"/>
                    <a:pt x="159" y="57"/>
                    <a:pt x="159" y="80"/>
                  </a:cubicBezTo>
                  <a:cubicBezTo>
                    <a:pt x="159" y="103"/>
                    <a:pt x="152" y="122"/>
                    <a:pt x="137" y="137"/>
                  </a:cubicBezTo>
                  <a:cubicBezTo>
                    <a:pt x="122" y="152"/>
                    <a:pt x="103" y="160"/>
                    <a:pt x="80" y="160"/>
                  </a:cubicBezTo>
                  <a:cubicBezTo>
                    <a:pt x="57" y="160"/>
                    <a:pt x="37" y="152"/>
                    <a:pt x="22" y="136"/>
                  </a:cubicBezTo>
                  <a:cubicBezTo>
                    <a:pt x="7" y="121"/>
                    <a:pt x="0" y="102"/>
                    <a:pt x="0" y="80"/>
                  </a:cubicBezTo>
                  <a:cubicBezTo>
                    <a:pt x="0" y="56"/>
                    <a:pt x="7" y="37"/>
                    <a:pt x="23" y="23"/>
                  </a:cubicBezTo>
                  <a:cubicBezTo>
                    <a:pt x="38" y="8"/>
                    <a:pt x="57" y="0"/>
                    <a:pt x="80" y="0"/>
                  </a:cubicBezTo>
                  <a:close/>
                  <a:moveTo>
                    <a:pt x="353" y="0"/>
                  </a:moveTo>
                  <a:cubicBezTo>
                    <a:pt x="376" y="0"/>
                    <a:pt x="395" y="8"/>
                    <a:pt x="410" y="23"/>
                  </a:cubicBezTo>
                  <a:cubicBezTo>
                    <a:pt x="425" y="38"/>
                    <a:pt x="432" y="57"/>
                    <a:pt x="432" y="80"/>
                  </a:cubicBezTo>
                  <a:cubicBezTo>
                    <a:pt x="432" y="103"/>
                    <a:pt x="425" y="122"/>
                    <a:pt x="410" y="137"/>
                  </a:cubicBezTo>
                  <a:cubicBezTo>
                    <a:pt x="395" y="152"/>
                    <a:pt x="376" y="160"/>
                    <a:pt x="353" y="160"/>
                  </a:cubicBezTo>
                  <a:cubicBezTo>
                    <a:pt x="330" y="160"/>
                    <a:pt x="310" y="152"/>
                    <a:pt x="295" y="136"/>
                  </a:cubicBezTo>
                  <a:cubicBezTo>
                    <a:pt x="280" y="121"/>
                    <a:pt x="273" y="102"/>
                    <a:pt x="273" y="80"/>
                  </a:cubicBezTo>
                  <a:cubicBezTo>
                    <a:pt x="273" y="56"/>
                    <a:pt x="280" y="37"/>
                    <a:pt x="296" y="23"/>
                  </a:cubicBezTo>
                  <a:cubicBezTo>
                    <a:pt x="311" y="8"/>
                    <a:pt x="330" y="0"/>
                    <a:pt x="353" y="0"/>
                  </a:cubicBezTo>
                  <a:close/>
                  <a:moveTo>
                    <a:pt x="626" y="0"/>
                  </a:moveTo>
                  <a:cubicBezTo>
                    <a:pt x="649" y="0"/>
                    <a:pt x="668" y="8"/>
                    <a:pt x="683" y="23"/>
                  </a:cubicBezTo>
                  <a:cubicBezTo>
                    <a:pt x="698" y="38"/>
                    <a:pt x="705" y="57"/>
                    <a:pt x="705" y="80"/>
                  </a:cubicBezTo>
                  <a:cubicBezTo>
                    <a:pt x="705" y="103"/>
                    <a:pt x="698" y="122"/>
                    <a:pt x="683" y="137"/>
                  </a:cubicBezTo>
                  <a:cubicBezTo>
                    <a:pt x="668" y="152"/>
                    <a:pt x="649" y="160"/>
                    <a:pt x="626" y="160"/>
                  </a:cubicBezTo>
                  <a:cubicBezTo>
                    <a:pt x="603" y="160"/>
                    <a:pt x="584" y="152"/>
                    <a:pt x="568" y="136"/>
                  </a:cubicBezTo>
                  <a:cubicBezTo>
                    <a:pt x="553" y="121"/>
                    <a:pt x="546" y="102"/>
                    <a:pt x="546" y="80"/>
                  </a:cubicBezTo>
                  <a:cubicBezTo>
                    <a:pt x="546" y="56"/>
                    <a:pt x="553" y="37"/>
                    <a:pt x="569" y="23"/>
                  </a:cubicBezTo>
                  <a:cubicBezTo>
                    <a:pt x="584" y="8"/>
                    <a:pt x="603" y="0"/>
                    <a:pt x="6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103" name="Freeform 6">
              <a:extLst>
                <a:ext uri="{FF2B5EF4-FFF2-40B4-BE49-F238E27FC236}">
                  <a16:creationId xmlns:a16="http://schemas.microsoft.com/office/drawing/2014/main" id="{006624C4-46A0-4CF5-86B7-B5ED1AD59E81}"/>
                </a:ext>
              </a:extLst>
            </p:cNvPr>
            <p:cNvSpPr>
              <a:spLocks noEditPoints="1"/>
            </p:cNvSpPr>
            <p:nvPr/>
          </p:nvSpPr>
          <p:spPr bwMode="auto">
            <a:xfrm>
              <a:off x="1" y="3"/>
              <a:ext cx="2697" cy="2308"/>
            </a:xfrm>
            <a:custGeom>
              <a:avLst/>
              <a:gdLst>
                <a:gd name="T0" fmla="*/ 1206 w 1297"/>
                <a:gd name="T1" fmla="*/ 479 h 1107"/>
                <a:gd name="T2" fmla="*/ 854 w 1297"/>
                <a:gd name="T3" fmla="*/ 839 h 1107"/>
                <a:gd name="T4" fmla="*/ 443 w 1297"/>
                <a:gd name="T5" fmla="*/ 839 h 1107"/>
                <a:gd name="T6" fmla="*/ 418 w 1297"/>
                <a:gd name="T7" fmla="*/ 839 h 1107"/>
                <a:gd name="T8" fmla="*/ 189 w 1297"/>
                <a:gd name="T9" fmla="*/ 937 h 1107"/>
                <a:gd name="T10" fmla="*/ 251 w 1297"/>
                <a:gd name="T11" fmla="*/ 781 h 1107"/>
                <a:gd name="T12" fmla="*/ 91 w 1297"/>
                <a:gd name="T13" fmla="*/ 479 h 1107"/>
                <a:gd name="T14" fmla="*/ 91 w 1297"/>
                <a:gd name="T15" fmla="*/ 450 h 1107"/>
                <a:gd name="T16" fmla="*/ 443 w 1297"/>
                <a:gd name="T17" fmla="*/ 90 h 1107"/>
                <a:gd name="T18" fmla="*/ 854 w 1297"/>
                <a:gd name="T19" fmla="*/ 90 h 1107"/>
                <a:gd name="T20" fmla="*/ 1206 w 1297"/>
                <a:gd name="T21" fmla="*/ 450 h 1107"/>
                <a:gd name="T22" fmla="*/ 1206 w 1297"/>
                <a:gd name="T23" fmla="*/ 479 h 1107"/>
                <a:gd name="T24" fmla="*/ 854 w 1297"/>
                <a:gd name="T25" fmla="*/ 0 h 1107"/>
                <a:gd name="T26" fmla="*/ 443 w 1297"/>
                <a:gd name="T27" fmla="*/ 0 h 1107"/>
                <a:gd name="T28" fmla="*/ 0 w 1297"/>
                <a:gd name="T29" fmla="*/ 450 h 1107"/>
                <a:gd name="T30" fmla="*/ 0 w 1297"/>
                <a:gd name="T31" fmla="*/ 479 h 1107"/>
                <a:gd name="T32" fmla="*/ 142 w 1297"/>
                <a:gd name="T33" fmla="*/ 810 h 1107"/>
                <a:gd name="T34" fmla="*/ 23 w 1297"/>
                <a:gd name="T35" fmla="*/ 1107 h 1107"/>
                <a:gd name="T36" fmla="*/ 435 w 1297"/>
                <a:gd name="T37" fmla="*/ 930 h 1107"/>
                <a:gd name="T38" fmla="*/ 443 w 1297"/>
                <a:gd name="T39" fmla="*/ 930 h 1107"/>
                <a:gd name="T40" fmla="*/ 854 w 1297"/>
                <a:gd name="T41" fmla="*/ 930 h 1107"/>
                <a:gd name="T42" fmla="*/ 1297 w 1297"/>
                <a:gd name="T43" fmla="*/ 479 h 1107"/>
                <a:gd name="T44" fmla="*/ 1297 w 1297"/>
                <a:gd name="T45" fmla="*/ 450 h 1107"/>
                <a:gd name="T46" fmla="*/ 854 w 1297"/>
                <a:gd name="T47" fmla="*/ 0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7" h="1107">
                  <a:moveTo>
                    <a:pt x="1206" y="479"/>
                  </a:moveTo>
                  <a:cubicBezTo>
                    <a:pt x="1206" y="677"/>
                    <a:pt x="1048" y="839"/>
                    <a:pt x="854" y="839"/>
                  </a:cubicBezTo>
                  <a:cubicBezTo>
                    <a:pt x="443" y="839"/>
                    <a:pt x="443" y="839"/>
                    <a:pt x="443" y="839"/>
                  </a:cubicBezTo>
                  <a:cubicBezTo>
                    <a:pt x="435" y="839"/>
                    <a:pt x="427" y="839"/>
                    <a:pt x="418" y="839"/>
                  </a:cubicBezTo>
                  <a:cubicBezTo>
                    <a:pt x="189" y="937"/>
                    <a:pt x="189" y="937"/>
                    <a:pt x="189" y="937"/>
                  </a:cubicBezTo>
                  <a:cubicBezTo>
                    <a:pt x="251" y="781"/>
                    <a:pt x="251" y="781"/>
                    <a:pt x="251" y="781"/>
                  </a:cubicBezTo>
                  <a:cubicBezTo>
                    <a:pt x="155" y="716"/>
                    <a:pt x="91" y="605"/>
                    <a:pt x="91" y="479"/>
                  </a:cubicBezTo>
                  <a:cubicBezTo>
                    <a:pt x="91" y="450"/>
                    <a:pt x="91" y="450"/>
                    <a:pt x="91" y="450"/>
                  </a:cubicBezTo>
                  <a:cubicBezTo>
                    <a:pt x="91" y="252"/>
                    <a:pt x="249" y="90"/>
                    <a:pt x="443" y="90"/>
                  </a:cubicBezTo>
                  <a:cubicBezTo>
                    <a:pt x="854" y="90"/>
                    <a:pt x="854" y="90"/>
                    <a:pt x="854" y="90"/>
                  </a:cubicBezTo>
                  <a:cubicBezTo>
                    <a:pt x="1047" y="90"/>
                    <a:pt x="1206" y="252"/>
                    <a:pt x="1206" y="450"/>
                  </a:cubicBezTo>
                  <a:lnTo>
                    <a:pt x="1206" y="479"/>
                  </a:lnTo>
                  <a:close/>
                  <a:moveTo>
                    <a:pt x="854" y="0"/>
                  </a:moveTo>
                  <a:cubicBezTo>
                    <a:pt x="443" y="0"/>
                    <a:pt x="443" y="0"/>
                    <a:pt x="443" y="0"/>
                  </a:cubicBezTo>
                  <a:cubicBezTo>
                    <a:pt x="199" y="0"/>
                    <a:pt x="0" y="203"/>
                    <a:pt x="0" y="450"/>
                  </a:cubicBezTo>
                  <a:cubicBezTo>
                    <a:pt x="0" y="479"/>
                    <a:pt x="0" y="479"/>
                    <a:pt x="0" y="479"/>
                  </a:cubicBezTo>
                  <a:cubicBezTo>
                    <a:pt x="0" y="607"/>
                    <a:pt x="53" y="725"/>
                    <a:pt x="142" y="810"/>
                  </a:cubicBezTo>
                  <a:cubicBezTo>
                    <a:pt x="23" y="1107"/>
                    <a:pt x="23" y="1107"/>
                    <a:pt x="23" y="1107"/>
                  </a:cubicBezTo>
                  <a:cubicBezTo>
                    <a:pt x="435" y="930"/>
                    <a:pt x="435" y="930"/>
                    <a:pt x="435" y="930"/>
                  </a:cubicBezTo>
                  <a:cubicBezTo>
                    <a:pt x="438" y="930"/>
                    <a:pt x="440" y="930"/>
                    <a:pt x="443" y="930"/>
                  </a:cubicBezTo>
                  <a:cubicBezTo>
                    <a:pt x="854" y="930"/>
                    <a:pt x="854" y="930"/>
                    <a:pt x="854" y="930"/>
                  </a:cubicBezTo>
                  <a:cubicBezTo>
                    <a:pt x="1098" y="930"/>
                    <a:pt x="1297" y="727"/>
                    <a:pt x="1297" y="479"/>
                  </a:cubicBezTo>
                  <a:cubicBezTo>
                    <a:pt x="1297" y="450"/>
                    <a:pt x="1297" y="450"/>
                    <a:pt x="1297" y="450"/>
                  </a:cubicBezTo>
                  <a:cubicBezTo>
                    <a:pt x="1297" y="203"/>
                    <a:pt x="1098" y="0"/>
                    <a:pt x="85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grpSp>
      <p:sp>
        <p:nvSpPr>
          <p:cNvPr id="97" name="Oval 96">
            <a:extLst>
              <a:ext uri="{FF2B5EF4-FFF2-40B4-BE49-F238E27FC236}">
                <a16:creationId xmlns:a16="http://schemas.microsoft.com/office/drawing/2014/main" id="{35AADA16-754D-4AEF-AE84-9BFB4AE495C5}"/>
              </a:ext>
            </a:extLst>
          </p:cNvPr>
          <p:cNvSpPr/>
          <p:nvPr/>
        </p:nvSpPr>
        <p:spPr bwMode="auto">
          <a:xfrm rot="2765178">
            <a:off x="7271732" y="4452596"/>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8" name="TextBox 107">
            <a:extLst>
              <a:ext uri="{FF2B5EF4-FFF2-40B4-BE49-F238E27FC236}">
                <a16:creationId xmlns:a16="http://schemas.microsoft.com/office/drawing/2014/main" id="{120B23DD-4D6B-4DFD-8120-CB954D11D50F}"/>
              </a:ext>
            </a:extLst>
          </p:cNvPr>
          <p:cNvSpPr txBox="1"/>
          <p:nvPr/>
        </p:nvSpPr>
        <p:spPr>
          <a:xfrm>
            <a:off x="7983926" y="4707948"/>
            <a:ext cx="873637" cy="284693"/>
          </a:xfrm>
          <a:prstGeom prst="rect">
            <a:avLst/>
          </a:prstGeom>
          <a:noFill/>
        </p:spPr>
        <p:txBody>
          <a:bodyPr wrap="none" lIns="0" tIns="0" rIns="0" bIns="0"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Language </a:t>
            </a:r>
            <a:b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understanding</a:t>
            </a:r>
          </a:p>
        </p:txBody>
      </p:sp>
      <p:grpSp>
        <p:nvGrpSpPr>
          <p:cNvPr id="148" name="Group 147">
            <a:extLst>
              <a:ext uri="{FF2B5EF4-FFF2-40B4-BE49-F238E27FC236}">
                <a16:creationId xmlns:a16="http://schemas.microsoft.com/office/drawing/2014/main" id="{8924EDE6-9292-4A21-8B10-FF476AB1E09A}"/>
              </a:ext>
            </a:extLst>
          </p:cNvPr>
          <p:cNvGrpSpPr/>
          <p:nvPr/>
        </p:nvGrpSpPr>
        <p:grpSpPr>
          <a:xfrm>
            <a:off x="5713995" y="4516257"/>
            <a:ext cx="557073" cy="557073"/>
            <a:chOff x="5837915" y="4082714"/>
            <a:chExt cx="568324" cy="568324"/>
          </a:xfrm>
        </p:grpSpPr>
        <p:sp>
          <p:nvSpPr>
            <p:cNvPr id="92" name="Oval 91">
              <a:extLst>
                <a:ext uri="{FF2B5EF4-FFF2-40B4-BE49-F238E27FC236}">
                  <a16:creationId xmlns:a16="http://schemas.microsoft.com/office/drawing/2014/main" id="{E5D8A545-2FD2-4CF2-9EB8-F0A7292FFB22}"/>
                </a:ext>
              </a:extLst>
            </p:cNvPr>
            <p:cNvSpPr/>
            <p:nvPr/>
          </p:nvSpPr>
          <p:spPr bwMode="auto">
            <a:xfrm>
              <a:off x="5837915" y="4082714"/>
              <a:ext cx="568324" cy="568324"/>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12" name="Group 23">
              <a:extLst>
                <a:ext uri="{FF2B5EF4-FFF2-40B4-BE49-F238E27FC236}">
                  <a16:creationId xmlns:a16="http://schemas.microsoft.com/office/drawing/2014/main" id="{2769FBF2-C1B5-42DF-999D-336AB7F9D821}"/>
                </a:ext>
              </a:extLst>
            </p:cNvPr>
            <p:cNvGrpSpPr>
              <a:grpSpLocks noChangeAspect="1"/>
            </p:cNvGrpSpPr>
            <p:nvPr/>
          </p:nvGrpSpPr>
          <p:grpSpPr bwMode="auto">
            <a:xfrm>
              <a:off x="5980763" y="4226616"/>
              <a:ext cx="279808" cy="280519"/>
              <a:chOff x="0" y="2"/>
              <a:chExt cx="2361" cy="2367"/>
            </a:xfrm>
            <a:solidFill>
              <a:schemeClr val="tx1"/>
            </a:solidFill>
          </p:grpSpPr>
          <p:sp>
            <p:nvSpPr>
              <p:cNvPr id="113" name="Freeform 24">
                <a:extLst>
                  <a:ext uri="{FF2B5EF4-FFF2-40B4-BE49-F238E27FC236}">
                    <a16:creationId xmlns:a16="http://schemas.microsoft.com/office/drawing/2014/main" id="{352A936C-E375-4ECC-ADC6-47CCDF32053A}"/>
                  </a:ext>
                </a:extLst>
              </p:cNvPr>
              <p:cNvSpPr>
                <a:spLocks noEditPoints="1"/>
              </p:cNvSpPr>
              <p:nvPr/>
            </p:nvSpPr>
            <p:spPr bwMode="auto">
              <a:xfrm>
                <a:off x="10" y="1188"/>
                <a:ext cx="851" cy="1168"/>
              </a:xfrm>
              <a:custGeom>
                <a:avLst/>
                <a:gdLst>
                  <a:gd name="T0" fmla="*/ 224 w 409"/>
                  <a:gd name="T1" fmla="*/ 74 h 561"/>
                  <a:gd name="T2" fmla="*/ 73 w 409"/>
                  <a:gd name="T3" fmla="*/ 137 h 561"/>
                  <a:gd name="T4" fmla="*/ 46 w 409"/>
                  <a:gd name="T5" fmla="*/ 160 h 561"/>
                  <a:gd name="T6" fmla="*/ 46 w 409"/>
                  <a:gd name="T7" fmla="*/ 62 h 561"/>
                  <a:gd name="T8" fmla="*/ 52 w 409"/>
                  <a:gd name="T9" fmla="*/ 57 h 561"/>
                  <a:gd name="T10" fmla="*/ 133 w 409"/>
                  <a:gd name="T11" fmla="*/ 17 h 561"/>
                  <a:gd name="T12" fmla="*/ 229 w 409"/>
                  <a:gd name="T13" fmla="*/ 0 h 561"/>
                  <a:gd name="T14" fmla="*/ 362 w 409"/>
                  <a:gd name="T15" fmla="*/ 54 h 561"/>
                  <a:gd name="T16" fmla="*/ 409 w 409"/>
                  <a:gd name="T17" fmla="*/ 205 h 561"/>
                  <a:gd name="T18" fmla="*/ 409 w 409"/>
                  <a:gd name="T19" fmla="*/ 549 h 561"/>
                  <a:gd name="T20" fmla="*/ 330 w 409"/>
                  <a:gd name="T21" fmla="*/ 549 h 561"/>
                  <a:gd name="T22" fmla="*/ 330 w 409"/>
                  <a:gd name="T23" fmla="*/ 485 h 561"/>
                  <a:gd name="T24" fmla="*/ 284 w 409"/>
                  <a:gd name="T25" fmla="*/ 527 h 561"/>
                  <a:gd name="T26" fmla="*/ 172 w 409"/>
                  <a:gd name="T27" fmla="*/ 561 h 561"/>
                  <a:gd name="T28" fmla="*/ 47 w 409"/>
                  <a:gd name="T29" fmla="*/ 516 h 561"/>
                  <a:gd name="T30" fmla="*/ 0 w 409"/>
                  <a:gd name="T31" fmla="*/ 402 h 561"/>
                  <a:gd name="T32" fmla="*/ 189 w 409"/>
                  <a:gd name="T33" fmla="*/ 227 h 561"/>
                  <a:gd name="T34" fmla="*/ 330 w 409"/>
                  <a:gd name="T35" fmla="*/ 206 h 561"/>
                  <a:gd name="T36" fmla="*/ 224 w 409"/>
                  <a:gd name="T37" fmla="*/ 74 h 561"/>
                  <a:gd name="T38" fmla="*/ 210 w 409"/>
                  <a:gd name="T39" fmla="*/ 298 h 561"/>
                  <a:gd name="T40" fmla="*/ 106 w 409"/>
                  <a:gd name="T41" fmla="*/ 331 h 561"/>
                  <a:gd name="T42" fmla="*/ 81 w 409"/>
                  <a:gd name="T43" fmla="*/ 400 h 561"/>
                  <a:gd name="T44" fmla="*/ 106 w 409"/>
                  <a:gd name="T45" fmla="*/ 462 h 561"/>
                  <a:gd name="T46" fmla="*/ 177 w 409"/>
                  <a:gd name="T47" fmla="*/ 487 h 561"/>
                  <a:gd name="T48" fmla="*/ 286 w 409"/>
                  <a:gd name="T49" fmla="*/ 438 h 561"/>
                  <a:gd name="T50" fmla="*/ 330 w 409"/>
                  <a:gd name="T51" fmla="*/ 310 h 561"/>
                  <a:gd name="T52" fmla="*/ 330 w 409"/>
                  <a:gd name="T53" fmla="*/ 280 h 561"/>
                  <a:gd name="T54" fmla="*/ 210 w 409"/>
                  <a:gd name="T55" fmla="*/ 298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9" h="561">
                    <a:moveTo>
                      <a:pt x="224" y="74"/>
                    </a:moveTo>
                    <a:cubicBezTo>
                      <a:pt x="173" y="74"/>
                      <a:pt x="123" y="95"/>
                      <a:pt x="73" y="137"/>
                    </a:cubicBezTo>
                    <a:cubicBezTo>
                      <a:pt x="46" y="160"/>
                      <a:pt x="46" y="160"/>
                      <a:pt x="46" y="160"/>
                    </a:cubicBezTo>
                    <a:cubicBezTo>
                      <a:pt x="46" y="62"/>
                      <a:pt x="46" y="62"/>
                      <a:pt x="46" y="62"/>
                    </a:cubicBezTo>
                    <a:cubicBezTo>
                      <a:pt x="52" y="57"/>
                      <a:pt x="52" y="57"/>
                      <a:pt x="52" y="57"/>
                    </a:cubicBezTo>
                    <a:cubicBezTo>
                      <a:pt x="72" y="41"/>
                      <a:pt x="100" y="28"/>
                      <a:pt x="133" y="17"/>
                    </a:cubicBezTo>
                    <a:cubicBezTo>
                      <a:pt x="167" y="6"/>
                      <a:pt x="199" y="0"/>
                      <a:pt x="229" y="0"/>
                    </a:cubicBezTo>
                    <a:cubicBezTo>
                      <a:pt x="285" y="0"/>
                      <a:pt x="330" y="18"/>
                      <a:pt x="362" y="54"/>
                    </a:cubicBezTo>
                    <a:cubicBezTo>
                      <a:pt x="393" y="89"/>
                      <a:pt x="409" y="140"/>
                      <a:pt x="409" y="205"/>
                    </a:cubicBezTo>
                    <a:cubicBezTo>
                      <a:pt x="409" y="549"/>
                      <a:pt x="409" y="549"/>
                      <a:pt x="409" y="549"/>
                    </a:cubicBezTo>
                    <a:cubicBezTo>
                      <a:pt x="330" y="549"/>
                      <a:pt x="330" y="549"/>
                      <a:pt x="330" y="549"/>
                    </a:cubicBezTo>
                    <a:cubicBezTo>
                      <a:pt x="330" y="485"/>
                      <a:pt x="330" y="485"/>
                      <a:pt x="330" y="485"/>
                    </a:cubicBezTo>
                    <a:cubicBezTo>
                      <a:pt x="317" y="502"/>
                      <a:pt x="301" y="516"/>
                      <a:pt x="284" y="527"/>
                    </a:cubicBezTo>
                    <a:cubicBezTo>
                      <a:pt x="250" y="550"/>
                      <a:pt x="213" y="561"/>
                      <a:pt x="172" y="561"/>
                    </a:cubicBezTo>
                    <a:cubicBezTo>
                      <a:pt x="120" y="561"/>
                      <a:pt x="78" y="546"/>
                      <a:pt x="47" y="516"/>
                    </a:cubicBezTo>
                    <a:cubicBezTo>
                      <a:pt x="16" y="486"/>
                      <a:pt x="0" y="448"/>
                      <a:pt x="0" y="402"/>
                    </a:cubicBezTo>
                    <a:cubicBezTo>
                      <a:pt x="0" y="305"/>
                      <a:pt x="65" y="246"/>
                      <a:pt x="189" y="227"/>
                    </a:cubicBezTo>
                    <a:cubicBezTo>
                      <a:pt x="330" y="206"/>
                      <a:pt x="330" y="206"/>
                      <a:pt x="330" y="206"/>
                    </a:cubicBezTo>
                    <a:cubicBezTo>
                      <a:pt x="327" y="116"/>
                      <a:pt x="292" y="74"/>
                      <a:pt x="224" y="74"/>
                    </a:cubicBezTo>
                    <a:close/>
                    <a:moveTo>
                      <a:pt x="210" y="298"/>
                    </a:moveTo>
                    <a:cubicBezTo>
                      <a:pt x="160" y="305"/>
                      <a:pt x="125" y="316"/>
                      <a:pt x="106" y="331"/>
                    </a:cubicBezTo>
                    <a:cubicBezTo>
                      <a:pt x="90" y="344"/>
                      <a:pt x="81" y="367"/>
                      <a:pt x="81" y="400"/>
                    </a:cubicBezTo>
                    <a:cubicBezTo>
                      <a:pt x="81" y="426"/>
                      <a:pt x="89" y="446"/>
                      <a:pt x="106" y="462"/>
                    </a:cubicBezTo>
                    <a:cubicBezTo>
                      <a:pt x="122" y="478"/>
                      <a:pt x="146" y="487"/>
                      <a:pt x="177" y="487"/>
                    </a:cubicBezTo>
                    <a:cubicBezTo>
                      <a:pt x="221" y="487"/>
                      <a:pt x="257" y="471"/>
                      <a:pt x="286" y="438"/>
                    </a:cubicBezTo>
                    <a:cubicBezTo>
                      <a:pt x="316" y="406"/>
                      <a:pt x="330" y="363"/>
                      <a:pt x="330" y="310"/>
                    </a:cubicBezTo>
                    <a:cubicBezTo>
                      <a:pt x="330" y="280"/>
                      <a:pt x="330" y="280"/>
                      <a:pt x="330" y="280"/>
                    </a:cubicBezTo>
                    <a:lnTo>
                      <a:pt x="210"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114" name="Freeform 25">
                <a:extLst>
                  <a:ext uri="{FF2B5EF4-FFF2-40B4-BE49-F238E27FC236}">
                    <a16:creationId xmlns:a16="http://schemas.microsoft.com/office/drawing/2014/main" id="{F1A63A2C-BE21-4892-8C34-9DBECB92F95E}"/>
                  </a:ext>
                </a:extLst>
              </p:cNvPr>
              <p:cNvSpPr>
                <a:spLocks/>
              </p:cNvSpPr>
              <p:nvPr/>
            </p:nvSpPr>
            <p:spPr bwMode="auto">
              <a:xfrm>
                <a:off x="1265" y="1665"/>
                <a:ext cx="1048" cy="704"/>
              </a:xfrm>
              <a:custGeom>
                <a:avLst/>
                <a:gdLst>
                  <a:gd name="T0" fmla="*/ 251 w 504"/>
                  <a:gd name="T1" fmla="*/ 153 h 338"/>
                  <a:gd name="T2" fmla="*/ 270 w 504"/>
                  <a:gd name="T3" fmla="*/ 129 h 338"/>
                  <a:gd name="T4" fmla="*/ 145 w 504"/>
                  <a:gd name="T5" fmla="*/ 17 h 338"/>
                  <a:gd name="T6" fmla="*/ 462 w 504"/>
                  <a:gd name="T7" fmla="*/ 0 h 338"/>
                  <a:gd name="T8" fmla="*/ 487 w 504"/>
                  <a:gd name="T9" fmla="*/ 23 h 338"/>
                  <a:gd name="T10" fmla="*/ 504 w 504"/>
                  <a:gd name="T11" fmla="*/ 338 h 338"/>
                  <a:gd name="T12" fmla="*/ 386 w 504"/>
                  <a:gd name="T13" fmla="*/ 233 h 338"/>
                  <a:gd name="T14" fmla="*/ 14 w 504"/>
                  <a:gd name="T15" fmla="*/ 230 h 338"/>
                  <a:gd name="T16" fmla="*/ 0 w 504"/>
                  <a:gd name="T17" fmla="*/ 217 h 338"/>
                  <a:gd name="T18" fmla="*/ 251 w 504"/>
                  <a:gd name="T19" fmla="*/ 153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1" y="153"/>
                    </a:moveTo>
                    <a:cubicBezTo>
                      <a:pt x="258" y="145"/>
                      <a:pt x="264" y="137"/>
                      <a:pt x="270" y="129"/>
                    </a:cubicBezTo>
                    <a:cubicBezTo>
                      <a:pt x="145" y="17"/>
                      <a:pt x="145" y="17"/>
                      <a:pt x="145" y="17"/>
                    </a:cubicBezTo>
                    <a:cubicBezTo>
                      <a:pt x="462" y="0"/>
                      <a:pt x="462" y="0"/>
                      <a:pt x="462" y="0"/>
                    </a:cubicBezTo>
                    <a:cubicBezTo>
                      <a:pt x="475" y="0"/>
                      <a:pt x="487" y="10"/>
                      <a:pt x="487" y="23"/>
                    </a:cubicBezTo>
                    <a:cubicBezTo>
                      <a:pt x="504" y="338"/>
                      <a:pt x="504" y="338"/>
                      <a:pt x="504" y="338"/>
                    </a:cubicBezTo>
                    <a:cubicBezTo>
                      <a:pt x="386" y="233"/>
                      <a:pt x="386" y="233"/>
                      <a:pt x="386" y="233"/>
                    </a:cubicBezTo>
                    <a:cubicBezTo>
                      <a:pt x="281" y="324"/>
                      <a:pt x="121" y="326"/>
                      <a:pt x="14" y="230"/>
                    </a:cubicBezTo>
                    <a:cubicBezTo>
                      <a:pt x="10" y="226"/>
                      <a:pt x="4" y="221"/>
                      <a:pt x="0" y="217"/>
                    </a:cubicBezTo>
                    <a:cubicBezTo>
                      <a:pt x="86" y="246"/>
                      <a:pt x="186" y="225"/>
                      <a:pt x="25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115" name="Freeform 26">
                <a:extLst>
                  <a:ext uri="{FF2B5EF4-FFF2-40B4-BE49-F238E27FC236}">
                    <a16:creationId xmlns:a16="http://schemas.microsoft.com/office/drawing/2014/main" id="{4876BD8A-4FE5-49AD-9D92-6F6607DD3440}"/>
                  </a:ext>
                </a:extLst>
              </p:cNvPr>
              <p:cNvSpPr>
                <a:spLocks/>
              </p:cNvSpPr>
              <p:nvPr/>
            </p:nvSpPr>
            <p:spPr bwMode="auto">
              <a:xfrm>
                <a:off x="0" y="129"/>
                <a:ext cx="1048" cy="704"/>
              </a:xfrm>
              <a:custGeom>
                <a:avLst/>
                <a:gdLst>
                  <a:gd name="T0" fmla="*/ 253 w 504"/>
                  <a:gd name="T1" fmla="*/ 184 h 338"/>
                  <a:gd name="T2" fmla="*/ 234 w 504"/>
                  <a:gd name="T3" fmla="*/ 209 h 338"/>
                  <a:gd name="T4" fmla="*/ 359 w 504"/>
                  <a:gd name="T5" fmla="*/ 321 h 338"/>
                  <a:gd name="T6" fmla="*/ 42 w 504"/>
                  <a:gd name="T7" fmla="*/ 338 h 338"/>
                  <a:gd name="T8" fmla="*/ 17 w 504"/>
                  <a:gd name="T9" fmla="*/ 314 h 338"/>
                  <a:gd name="T10" fmla="*/ 0 w 504"/>
                  <a:gd name="T11" fmla="*/ 0 h 338"/>
                  <a:gd name="T12" fmla="*/ 118 w 504"/>
                  <a:gd name="T13" fmla="*/ 105 h 338"/>
                  <a:gd name="T14" fmla="*/ 489 w 504"/>
                  <a:gd name="T15" fmla="*/ 107 h 338"/>
                  <a:gd name="T16" fmla="*/ 504 w 504"/>
                  <a:gd name="T17" fmla="*/ 121 h 338"/>
                  <a:gd name="T18" fmla="*/ 253 w 504"/>
                  <a:gd name="T19" fmla="*/ 18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3" y="184"/>
                    </a:moveTo>
                    <a:cubicBezTo>
                      <a:pt x="245" y="192"/>
                      <a:pt x="239" y="201"/>
                      <a:pt x="234" y="209"/>
                    </a:cubicBezTo>
                    <a:cubicBezTo>
                      <a:pt x="359" y="321"/>
                      <a:pt x="359" y="321"/>
                      <a:pt x="359" y="321"/>
                    </a:cubicBezTo>
                    <a:cubicBezTo>
                      <a:pt x="42" y="338"/>
                      <a:pt x="42" y="338"/>
                      <a:pt x="42" y="338"/>
                    </a:cubicBezTo>
                    <a:cubicBezTo>
                      <a:pt x="28" y="338"/>
                      <a:pt x="17" y="328"/>
                      <a:pt x="17" y="314"/>
                    </a:cubicBezTo>
                    <a:cubicBezTo>
                      <a:pt x="0" y="0"/>
                      <a:pt x="0" y="0"/>
                      <a:pt x="0" y="0"/>
                    </a:cubicBezTo>
                    <a:cubicBezTo>
                      <a:pt x="118" y="105"/>
                      <a:pt x="118" y="105"/>
                      <a:pt x="118" y="105"/>
                    </a:cubicBezTo>
                    <a:cubicBezTo>
                      <a:pt x="223" y="13"/>
                      <a:pt x="382" y="11"/>
                      <a:pt x="489" y="107"/>
                    </a:cubicBezTo>
                    <a:cubicBezTo>
                      <a:pt x="494" y="112"/>
                      <a:pt x="499" y="116"/>
                      <a:pt x="504" y="121"/>
                    </a:cubicBezTo>
                    <a:cubicBezTo>
                      <a:pt x="417" y="91"/>
                      <a:pt x="317" y="113"/>
                      <a:pt x="253"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116" name="Freeform 27">
                <a:extLst>
                  <a:ext uri="{FF2B5EF4-FFF2-40B4-BE49-F238E27FC236}">
                    <a16:creationId xmlns:a16="http://schemas.microsoft.com/office/drawing/2014/main" id="{2D333C6E-3344-4778-862C-E5707ACA4A25}"/>
                  </a:ext>
                </a:extLst>
              </p:cNvPr>
              <p:cNvSpPr>
                <a:spLocks noEditPoints="1"/>
              </p:cNvSpPr>
              <p:nvPr/>
            </p:nvSpPr>
            <p:spPr bwMode="auto">
              <a:xfrm>
                <a:off x="1194" y="2"/>
                <a:ext cx="1167" cy="1271"/>
              </a:xfrm>
              <a:custGeom>
                <a:avLst/>
                <a:gdLst>
                  <a:gd name="T0" fmla="*/ 527 w 561"/>
                  <a:gd name="T1" fmla="*/ 78 h 610"/>
                  <a:gd name="T2" fmla="*/ 544 w 561"/>
                  <a:gd name="T3" fmla="*/ 77 h 610"/>
                  <a:gd name="T4" fmla="*/ 548 w 561"/>
                  <a:gd name="T5" fmla="*/ 142 h 610"/>
                  <a:gd name="T6" fmla="*/ 531 w 561"/>
                  <a:gd name="T7" fmla="*/ 143 h 610"/>
                  <a:gd name="T8" fmla="*/ 248 w 561"/>
                  <a:gd name="T9" fmla="*/ 153 h 610"/>
                  <a:gd name="T10" fmla="*/ 244 w 561"/>
                  <a:gd name="T11" fmla="*/ 215 h 610"/>
                  <a:gd name="T12" fmla="*/ 332 w 561"/>
                  <a:gd name="T13" fmla="*/ 207 h 610"/>
                  <a:gd name="T14" fmla="*/ 358 w 561"/>
                  <a:gd name="T15" fmla="*/ 208 h 610"/>
                  <a:gd name="T16" fmla="*/ 369 w 561"/>
                  <a:gd name="T17" fmla="*/ 167 h 610"/>
                  <a:gd name="T18" fmla="*/ 434 w 561"/>
                  <a:gd name="T19" fmla="*/ 182 h 610"/>
                  <a:gd name="T20" fmla="*/ 430 w 561"/>
                  <a:gd name="T21" fmla="*/ 198 h 610"/>
                  <a:gd name="T22" fmla="*/ 424 w 561"/>
                  <a:gd name="T23" fmla="*/ 221 h 610"/>
                  <a:gd name="T24" fmla="*/ 485 w 561"/>
                  <a:gd name="T25" fmla="*/ 252 h 610"/>
                  <a:gd name="T26" fmla="*/ 561 w 561"/>
                  <a:gd name="T27" fmla="*/ 396 h 610"/>
                  <a:gd name="T28" fmla="*/ 498 w 561"/>
                  <a:gd name="T29" fmla="*/ 544 h 610"/>
                  <a:gd name="T30" fmla="*/ 332 w 561"/>
                  <a:gd name="T31" fmla="*/ 608 h 610"/>
                  <a:gd name="T32" fmla="*/ 319 w 561"/>
                  <a:gd name="T33" fmla="*/ 610 h 610"/>
                  <a:gd name="T34" fmla="*/ 294 w 561"/>
                  <a:gd name="T35" fmla="*/ 548 h 610"/>
                  <a:gd name="T36" fmla="*/ 315 w 561"/>
                  <a:gd name="T37" fmla="*/ 545 h 610"/>
                  <a:gd name="T38" fmla="*/ 448 w 561"/>
                  <a:gd name="T39" fmla="*/ 495 h 610"/>
                  <a:gd name="T40" fmla="*/ 493 w 561"/>
                  <a:gd name="T41" fmla="*/ 396 h 610"/>
                  <a:gd name="T42" fmla="*/ 442 w 561"/>
                  <a:gd name="T43" fmla="*/ 303 h 610"/>
                  <a:gd name="T44" fmla="*/ 406 w 561"/>
                  <a:gd name="T45" fmla="*/ 285 h 610"/>
                  <a:gd name="T46" fmla="*/ 335 w 561"/>
                  <a:gd name="T47" fmla="*/ 438 h 610"/>
                  <a:gd name="T48" fmla="*/ 114 w 561"/>
                  <a:gd name="T49" fmla="*/ 580 h 610"/>
                  <a:gd name="T50" fmla="*/ 29 w 561"/>
                  <a:gd name="T51" fmla="*/ 546 h 610"/>
                  <a:gd name="T52" fmla="*/ 0 w 561"/>
                  <a:gd name="T53" fmla="*/ 457 h 610"/>
                  <a:gd name="T54" fmla="*/ 93 w 561"/>
                  <a:gd name="T55" fmla="*/ 284 h 610"/>
                  <a:gd name="T56" fmla="*/ 175 w 561"/>
                  <a:gd name="T57" fmla="*/ 236 h 610"/>
                  <a:gd name="T58" fmla="*/ 179 w 561"/>
                  <a:gd name="T59" fmla="*/ 154 h 610"/>
                  <a:gd name="T60" fmla="*/ 115 w 561"/>
                  <a:gd name="T61" fmla="*/ 155 h 610"/>
                  <a:gd name="T62" fmla="*/ 27 w 561"/>
                  <a:gd name="T63" fmla="*/ 155 h 610"/>
                  <a:gd name="T64" fmla="*/ 10 w 561"/>
                  <a:gd name="T65" fmla="*/ 155 h 610"/>
                  <a:gd name="T66" fmla="*/ 10 w 561"/>
                  <a:gd name="T67" fmla="*/ 89 h 610"/>
                  <a:gd name="T68" fmla="*/ 27 w 561"/>
                  <a:gd name="T69" fmla="*/ 89 h 610"/>
                  <a:gd name="T70" fmla="*/ 117 w 561"/>
                  <a:gd name="T71" fmla="*/ 89 h 610"/>
                  <a:gd name="T72" fmla="*/ 186 w 561"/>
                  <a:gd name="T73" fmla="*/ 88 h 610"/>
                  <a:gd name="T74" fmla="*/ 198 w 561"/>
                  <a:gd name="T75" fmla="*/ 17 h 610"/>
                  <a:gd name="T76" fmla="*/ 201 w 561"/>
                  <a:gd name="T77" fmla="*/ 0 h 610"/>
                  <a:gd name="T78" fmla="*/ 268 w 561"/>
                  <a:gd name="T79" fmla="*/ 16 h 610"/>
                  <a:gd name="T80" fmla="*/ 265 w 561"/>
                  <a:gd name="T81" fmla="*/ 31 h 610"/>
                  <a:gd name="T82" fmla="*/ 255 w 561"/>
                  <a:gd name="T83" fmla="*/ 87 h 610"/>
                  <a:gd name="T84" fmla="*/ 527 w 561"/>
                  <a:gd name="T85" fmla="*/ 78 h 610"/>
                  <a:gd name="T86" fmla="*/ 332 w 561"/>
                  <a:gd name="T87" fmla="*/ 273 h 610"/>
                  <a:gd name="T88" fmla="*/ 242 w 561"/>
                  <a:gd name="T89" fmla="*/ 283 h 610"/>
                  <a:gd name="T90" fmla="*/ 242 w 561"/>
                  <a:gd name="T91" fmla="*/ 285 h 610"/>
                  <a:gd name="T92" fmla="*/ 252 w 561"/>
                  <a:gd name="T93" fmla="*/ 438 h 610"/>
                  <a:gd name="T94" fmla="*/ 277 w 561"/>
                  <a:gd name="T95" fmla="*/ 403 h 610"/>
                  <a:gd name="T96" fmla="*/ 339 w 561"/>
                  <a:gd name="T97" fmla="*/ 273 h 610"/>
                  <a:gd name="T98" fmla="*/ 332 w 561"/>
                  <a:gd name="T99" fmla="*/ 273 h 610"/>
                  <a:gd name="T100" fmla="*/ 137 w 561"/>
                  <a:gd name="T101" fmla="*/ 335 h 610"/>
                  <a:gd name="T102" fmla="*/ 68 w 561"/>
                  <a:gd name="T103" fmla="*/ 457 h 610"/>
                  <a:gd name="T104" fmla="*/ 114 w 561"/>
                  <a:gd name="T105" fmla="*/ 514 h 610"/>
                  <a:gd name="T106" fmla="*/ 192 w 561"/>
                  <a:gd name="T107" fmla="*/ 493 h 610"/>
                  <a:gd name="T108" fmla="*/ 174 w 561"/>
                  <a:gd name="T109" fmla="*/ 311 h 610"/>
                  <a:gd name="T110" fmla="*/ 137 w 561"/>
                  <a:gd name="T111" fmla="*/ 335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1" h="610">
                    <a:moveTo>
                      <a:pt x="527" y="78"/>
                    </a:moveTo>
                    <a:cubicBezTo>
                      <a:pt x="544" y="77"/>
                      <a:pt x="544" y="77"/>
                      <a:pt x="544" y="77"/>
                    </a:cubicBezTo>
                    <a:cubicBezTo>
                      <a:pt x="548" y="142"/>
                      <a:pt x="548" y="142"/>
                      <a:pt x="548" y="142"/>
                    </a:cubicBezTo>
                    <a:cubicBezTo>
                      <a:pt x="531" y="143"/>
                      <a:pt x="531" y="143"/>
                      <a:pt x="531" y="143"/>
                    </a:cubicBezTo>
                    <a:cubicBezTo>
                      <a:pt x="457" y="148"/>
                      <a:pt x="364" y="151"/>
                      <a:pt x="248" y="153"/>
                    </a:cubicBezTo>
                    <a:cubicBezTo>
                      <a:pt x="246" y="173"/>
                      <a:pt x="245" y="193"/>
                      <a:pt x="244" y="215"/>
                    </a:cubicBezTo>
                    <a:cubicBezTo>
                      <a:pt x="271" y="210"/>
                      <a:pt x="300" y="207"/>
                      <a:pt x="332" y="207"/>
                    </a:cubicBezTo>
                    <a:cubicBezTo>
                      <a:pt x="341" y="207"/>
                      <a:pt x="350" y="208"/>
                      <a:pt x="358" y="208"/>
                    </a:cubicBezTo>
                    <a:cubicBezTo>
                      <a:pt x="369" y="167"/>
                      <a:pt x="369" y="167"/>
                      <a:pt x="369" y="167"/>
                    </a:cubicBezTo>
                    <a:cubicBezTo>
                      <a:pt x="434" y="182"/>
                      <a:pt x="434" y="182"/>
                      <a:pt x="434" y="182"/>
                    </a:cubicBezTo>
                    <a:cubicBezTo>
                      <a:pt x="430" y="198"/>
                      <a:pt x="430" y="198"/>
                      <a:pt x="430" y="198"/>
                    </a:cubicBezTo>
                    <a:cubicBezTo>
                      <a:pt x="428" y="206"/>
                      <a:pt x="427" y="212"/>
                      <a:pt x="424" y="221"/>
                    </a:cubicBezTo>
                    <a:cubicBezTo>
                      <a:pt x="446" y="228"/>
                      <a:pt x="467" y="239"/>
                      <a:pt x="485" y="252"/>
                    </a:cubicBezTo>
                    <a:cubicBezTo>
                      <a:pt x="536" y="287"/>
                      <a:pt x="561" y="335"/>
                      <a:pt x="561" y="396"/>
                    </a:cubicBezTo>
                    <a:cubicBezTo>
                      <a:pt x="561" y="458"/>
                      <a:pt x="540" y="508"/>
                      <a:pt x="498" y="544"/>
                    </a:cubicBezTo>
                    <a:cubicBezTo>
                      <a:pt x="459" y="577"/>
                      <a:pt x="403" y="599"/>
                      <a:pt x="332" y="608"/>
                    </a:cubicBezTo>
                    <a:cubicBezTo>
                      <a:pt x="319" y="610"/>
                      <a:pt x="319" y="610"/>
                      <a:pt x="319" y="610"/>
                    </a:cubicBezTo>
                    <a:cubicBezTo>
                      <a:pt x="294" y="548"/>
                      <a:pt x="294" y="548"/>
                      <a:pt x="294" y="548"/>
                    </a:cubicBezTo>
                    <a:cubicBezTo>
                      <a:pt x="315" y="545"/>
                      <a:pt x="315" y="545"/>
                      <a:pt x="315" y="545"/>
                    </a:cubicBezTo>
                    <a:cubicBezTo>
                      <a:pt x="374" y="537"/>
                      <a:pt x="418" y="521"/>
                      <a:pt x="448" y="495"/>
                    </a:cubicBezTo>
                    <a:cubicBezTo>
                      <a:pt x="478" y="469"/>
                      <a:pt x="493" y="437"/>
                      <a:pt x="493" y="396"/>
                    </a:cubicBezTo>
                    <a:cubicBezTo>
                      <a:pt x="493" y="356"/>
                      <a:pt x="476" y="325"/>
                      <a:pt x="442" y="303"/>
                    </a:cubicBezTo>
                    <a:cubicBezTo>
                      <a:pt x="430" y="295"/>
                      <a:pt x="419" y="289"/>
                      <a:pt x="406" y="285"/>
                    </a:cubicBezTo>
                    <a:cubicBezTo>
                      <a:pt x="386" y="343"/>
                      <a:pt x="363" y="394"/>
                      <a:pt x="335" y="438"/>
                    </a:cubicBezTo>
                    <a:cubicBezTo>
                      <a:pt x="275" y="532"/>
                      <a:pt x="201" y="580"/>
                      <a:pt x="114" y="580"/>
                    </a:cubicBezTo>
                    <a:cubicBezTo>
                      <a:pt x="78" y="580"/>
                      <a:pt x="49" y="568"/>
                      <a:pt x="29" y="546"/>
                    </a:cubicBezTo>
                    <a:cubicBezTo>
                      <a:pt x="9" y="525"/>
                      <a:pt x="0" y="494"/>
                      <a:pt x="0" y="457"/>
                    </a:cubicBezTo>
                    <a:cubicBezTo>
                      <a:pt x="0" y="390"/>
                      <a:pt x="31" y="333"/>
                      <a:pt x="93" y="284"/>
                    </a:cubicBezTo>
                    <a:cubicBezTo>
                      <a:pt x="118" y="264"/>
                      <a:pt x="145" y="248"/>
                      <a:pt x="175" y="236"/>
                    </a:cubicBezTo>
                    <a:cubicBezTo>
                      <a:pt x="175" y="208"/>
                      <a:pt x="177" y="180"/>
                      <a:pt x="179" y="154"/>
                    </a:cubicBezTo>
                    <a:cubicBezTo>
                      <a:pt x="164" y="154"/>
                      <a:pt x="147" y="154"/>
                      <a:pt x="115" y="155"/>
                    </a:cubicBezTo>
                    <a:cubicBezTo>
                      <a:pt x="74" y="155"/>
                      <a:pt x="52" y="155"/>
                      <a:pt x="27" y="155"/>
                    </a:cubicBezTo>
                    <a:cubicBezTo>
                      <a:pt x="10" y="155"/>
                      <a:pt x="10" y="155"/>
                      <a:pt x="10" y="155"/>
                    </a:cubicBezTo>
                    <a:cubicBezTo>
                      <a:pt x="10" y="89"/>
                      <a:pt x="10" y="89"/>
                      <a:pt x="10" y="89"/>
                    </a:cubicBezTo>
                    <a:cubicBezTo>
                      <a:pt x="27" y="89"/>
                      <a:pt x="27" y="89"/>
                      <a:pt x="27" y="89"/>
                    </a:cubicBezTo>
                    <a:cubicBezTo>
                      <a:pt x="53" y="89"/>
                      <a:pt x="75" y="89"/>
                      <a:pt x="117" y="89"/>
                    </a:cubicBezTo>
                    <a:cubicBezTo>
                      <a:pt x="152" y="88"/>
                      <a:pt x="170" y="88"/>
                      <a:pt x="186" y="88"/>
                    </a:cubicBezTo>
                    <a:cubicBezTo>
                      <a:pt x="189" y="66"/>
                      <a:pt x="193" y="43"/>
                      <a:pt x="198" y="17"/>
                    </a:cubicBezTo>
                    <a:cubicBezTo>
                      <a:pt x="201" y="0"/>
                      <a:pt x="201" y="0"/>
                      <a:pt x="201" y="0"/>
                    </a:cubicBezTo>
                    <a:cubicBezTo>
                      <a:pt x="268" y="16"/>
                      <a:pt x="268" y="16"/>
                      <a:pt x="268" y="16"/>
                    </a:cubicBezTo>
                    <a:cubicBezTo>
                      <a:pt x="265" y="31"/>
                      <a:pt x="265" y="31"/>
                      <a:pt x="265" y="31"/>
                    </a:cubicBezTo>
                    <a:cubicBezTo>
                      <a:pt x="261" y="50"/>
                      <a:pt x="258" y="68"/>
                      <a:pt x="255" y="87"/>
                    </a:cubicBezTo>
                    <a:cubicBezTo>
                      <a:pt x="366" y="85"/>
                      <a:pt x="457" y="82"/>
                      <a:pt x="527" y="78"/>
                    </a:cubicBezTo>
                    <a:moveTo>
                      <a:pt x="332" y="273"/>
                    </a:moveTo>
                    <a:cubicBezTo>
                      <a:pt x="299" y="273"/>
                      <a:pt x="269" y="276"/>
                      <a:pt x="242" y="283"/>
                    </a:cubicBezTo>
                    <a:cubicBezTo>
                      <a:pt x="242" y="285"/>
                      <a:pt x="242" y="285"/>
                      <a:pt x="242" y="285"/>
                    </a:cubicBezTo>
                    <a:cubicBezTo>
                      <a:pt x="242" y="342"/>
                      <a:pt x="245" y="393"/>
                      <a:pt x="252" y="438"/>
                    </a:cubicBezTo>
                    <a:cubicBezTo>
                      <a:pt x="260" y="428"/>
                      <a:pt x="269" y="416"/>
                      <a:pt x="277" y="403"/>
                    </a:cubicBezTo>
                    <a:cubicBezTo>
                      <a:pt x="302" y="365"/>
                      <a:pt x="322" y="321"/>
                      <a:pt x="339" y="273"/>
                    </a:cubicBezTo>
                    <a:cubicBezTo>
                      <a:pt x="337" y="273"/>
                      <a:pt x="335" y="273"/>
                      <a:pt x="332" y="273"/>
                    </a:cubicBezTo>
                    <a:moveTo>
                      <a:pt x="137" y="335"/>
                    </a:moveTo>
                    <a:cubicBezTo>
                      <a:pt x="91" y="372"/>
                      <a:pt x="68" y="413"/>
                      <a:pt x="68" y="457"/>
                    </a:cubicBezTo>
                    <a:cubicBezTo>
                      <a:pt x="68" y="498"/>
                      <a:pt x="82" y="514"/>
                      <a:pt x="114" y="514"/>
                    </a:cubicBezTo>
                    <a:cubicBezTo>
                      <a:pt x="140" y="514"/>
                      <a:pt x="166" y="507"/>
                      <a:pt x="192" y="493"/>
                    </a:cubicBezTo>
                    <a:cubicBezTo>
                      <a:pt x="181" y="440"/>
                      <a:pt x="175" y="379"/>
                      <a:pt x="174" y="311"/>
                    </a:cubicBezTo>
                    <a:cubicBezTo>
                      <a:pt x="161" y="318"/>
                      <a:pt x="149" y="326"/>
                      <a:pt x="137" y="3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117" name="TextBox 116">
            <a:extLst>
              <a:ext uri="{FF2B5EF4-FFF2-40B4-BE49-F238E27FC236}">
                <a16:creationId xmlns:a16="http://schemas.microsoft.com/office/drawing/2014/main" id="{010D1232-C9AA-4DAB-8C36-A11F0180F548}"/>
              </a:ext>
            </a:extLst>
          </p:cNvPr>
          <p:cNvSpPr txBox="1"/>
          <p:nvPr/>
        </p:nvSpPr>
        <p:spPr>
          <a:xfrm>
            <a:off x="5015928" y="4755835"/>
            <a:ext cx="599523" cy="142347"/>
          </a:xfrm>
          <a:prstGeom prst="rect">
            <a:avLst/>
          </a:prstGeom>
          <a:noFill/>
        </p:spPr>
        <p:txBody>
          <a:bodyPr wrap="none" lIns="0" tIns="0" rIns="0" bIns="0" rtlCol="0">
            <a:spAutoFit/>
          </a:bodyPr>
          <a:lstStyle/>
          <a:p>
            <a:pPr marL="0" marR="0" lvl="0" indent="0" algn="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Translator</a:t>
            </a:r>
          </a:p>
        </p:txBody>
      </p:sp>
      <p:sp>
        <p:nvSpPr>
          <p:cNvPr id="118" name="TextBox 117">
            <a:extLst>
              <a:ext uri="{FF2B5EF4-FFF2-40B4-BE49-F238E27FC236}">
                <a16:creationId xmlns:a16="http://schemas.microsoft.com/office/drawing/2014/main" id="{5BEC6ECD-B804-4A7A-BE97-5ED96CA640ED}"/>
              </a:ext>
            </a:extLst>
          </p:cNvPr>
          <p:cNvSpPr txBox="1"/>
          <p:nvPr/>
        </p:nvSpPr>
        <p:spPr>
          <a:xfrm>
            <a:off x="4461877" y="4145464"/>
            <a:ext cx="861977" cy="142347"/>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err="1">
                <a:ln>
                  <a:noFill/>
                </a:ln>
                <a:solidFill>
                  <a:srgbClr val="FFFFFF"/>
                </a:solidFill>
                <a:effectLst/>
                <a:uLnTx/>
                <a:uFillTx/>
                <a:latin typeface="Segoe UI Semibold" panose="020B0702040204020203" pitchFamily="34" charset="0"/>
                <a:ea typeface="+mn-ea"/>
                <a:cs typeface="Segoe UI Semibold" panose="020B0702040204020203" pitchFamily="34" charset="0"/>
              </a:rPr>
              <a:t>QnA</a:t>
            </a: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 Maker</a:t>
            </a:r>
          </a:p>
        </p:txBody>
      </p:sp>
      <p:grpSp>
        <p:nvGrpSpPr>
          <p:cNvPr id="63" name="Group 62">
            <a:extLst>
              <a:ext uri="{FF2B5EF4-FFF2-40B4-BE49-F238E27FC236}">
                <a16:creationId xmlns:a16="http://schemas.microsoft.com/office/drawing/2014/main" id="{F8117266-47FB-45DC-8378-40A4CBE7F204}"/>
              </a:ext>
            </a:extLst>
          </p:cNvPr>
          <p:cNvGrpSpPr/>
          <p:nvPr/>
        </p:nvGrpSpPr>
        <p:grpSpPr>
          <a:xfrm>
            <a:off x="4623182" y="3489882"/>
            <a:ext cx="557073" cy="557073"/>
            <a:chOff x="7799773" y="3994872"/>
            <a:chExt cx="568324" cy="568324"/>
          </a:xfrm>
        </p:grpSpPr>
        <p:sp>
          <p:nvSpPr>
            <p:cNvPr id="88" name="Oval 87">
              <a:extLst>
                <a:ext uri="{FF2B5EF4-FFF2-40B4-BE49-F238E27FC236}">
                  <a16:creationId xmlns:a16="http://schemas.microsoft.com/office/drawing/2014/main" id="{695E8758-894A-4135-BB36-373CE7C95278}"/>
                </a:ext>
              </a:extLst>
            </p:cNvPr>
            <p:cNvSpPr/>
            <p:nvPr/>
          </p:nvSpPr>
          <p:spPr bwMode="auto">
            <a:xfrm>
              <a:off x="7799773" y="3994872"/>
              <a:ext cx="568324" cy="568324"/>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9" name="Freeform 23">
              <a:extLst>
                <a:ext uri="{FF2B5EF4-FFF2-40B4-BE49-F238E27FC236}">
                  <a16:creationId xmlns:a16="http://schemas.microsoft.com/office/drawing/2014/main" id="{F0AC2E40-9AA1-4BF9-A1E6-8B7E8C586C8C}"/>
                </a:ext>
              </a:extLst>
            </p:cNvPr>
            <p:cNvSpPr>
              <a:spLocks noEditPoints="1"/>
            </p:cNvSpPr>
            <p:nvPr/>
          </p:nvSpPr>
          <p:spPr bwMode="auto">
            <a:xfrm>
              <a:off x="7941625" y="4148234"/>
              <a:ext cx="284621" cy="261601"/>
            </a:xfrm>
            <a:custGeom>
              <a:avLst/>
              <a:gdLst>
                <a:gd name="T0" fmla="*/ 1142 w 1308"/>
                <a:gd name="T1" fmla="*/ 686 h 1200"/>
                <a:gd name="T2" fmla="*/ 982 w 1308"/>
                <a:gd name="T3" fmla="*/ 616 h 1200"/>
                <a:gd name="T4" fmla="*/ 965 w 1308"/>
                <a:gd name="T5" fmla="*/ 617 h 1200"/>
                <a:gd name="T6" fmla="*/ 958 w 1308"/>
                <a:gd name="T7" fmla="*/ 617 h 1200"/>
                <a:gd name="T8" fmla="*/ 629 w 1308"/>
                <a:gd name="T9" fmla="*/ 343 h 1200"/>
                <a:gd name="T10" fmla="*/ 434 w 1308"/>
                <a:gd name="T11" fmla="*/ 343 h 1200"/>
                <a:gd name="T12" fmla="*/ 679 w 1308"/>
                <a:gd name="T13" fmla="*/ 91 h 1200"/>
                <a:gd name="T14" fmla="*/ 965 w 1308"/>
                <a:gd name="T15" fmla="*/ 91 h 1200"/>
                <a:gd name="T16" fmla="*/ 1210 w 1308"/>
                <a:gd name="T17" fmla="*/ 344 h 1200"/>
                <a:gd name="T18" fmla="*/ 1210 w 1308"/>
                <a:gd name="T19" fmla="*/ 364 h 1200"/>
                <a:gd name="T20" fmla="*/ 1098 w 1308"/>
                <a:gd name="T21" fmla="*/ 576 h 1200"/>
                <a:gd name="T22" fmla="*/ 1142 w 1308"/>
                <a:gd name="T23" fmla="*/ 686 h 1200"/>
                <a:gd name="T24" fmla="*/ 629 w 1308"/>
                <a:gd name="T25" fmla="*/ 960 h 1200"/>
                <a:gd name="T26" fmla="*/ 343 w 1308"/>
                <a:gd name="T27" fmla="*/ 960 h 1200"/>
                <a:gd name="T28" fmla="*/ 326 w 1308"/>
                <a:gd name="T29" fmla="*/ 959 h 1200"/>
                <a:gd name="T30" fmla="*/ 166 w 1308"/>
                <a:gd name="T31" fmla="*/ 1028 h 1200"/>
                <a:gd name="T32" fmla="*/ 210 w 1308"/>
                <a:gd name="T33" fmla="*/ 919 h 1200"/>
                <a:gd name="T34" fmla="*/ 98 w 1308"/>
                <a:gd name="T35" fmla="*/ 707 h 1200"/>
                <a:gd name="T36" fmla="*/ 98 w 1308"/>
                <a:gd name="T37" fmla="*/ 687 h 1200"/>
                <a:gd name="T38" fmla="*/ 343 w 1308"/>
                <a:gd name="T39" fmla="*/ 434 h 1200"/>
                <a:gd name="T40" fmla="*/ 350 w 1308"/>
                <a:gd name="T41" fmla="*/ 434 h 1200"/>
                <a:gd name="T42" fmla="*/ 444 w 1308"/>
                <a:gd name="T43" fmla="*/ 434 h 1200"/>
                <a:gd name="T44" fmla="*/ 629 w 1308"/>
                <a:gd name="T45" fmla="*/ 434 h 1200"/>
                <a:gd name="T46" fmla="*/ 864 w 1308"/>
                <a:gd name="T47" fmla="*/ 617 h 1200"/>
                <a:gd name="T48" fmla="*/ 874 w 1308"/>
                <a:gd name="T49" fmla="*/ 687 h 1200"/>
                <a:gd name="T50" fmla="*/ 874 w 1308"/>
                <a:gd name="T51" fmla="*/ 707 h 1200"/>
                <a:gd name="T52" fmla="*/ 874 w 1308"/>
                <a:gd name="T53" fmla="*/ 709 h 1200"/>
                <a:gd name="T54" fmla="*/ 629 w 1308"/>
                <a:gd name="T55" fmla="*/ 960 h 1200"/>
                <a:gd name="T56" fmla="*/ 1207 w 1308"/>
                <a:gd name="T57" fmla="*/ 603 h 1200"/>
                <a:gd name="T58" fmla="*/ 1301 w 1308"/>
                <a:gd name="T59" fmla="*/ 364 h 1200"/>
                <a:gd name="T60" fmla="*/ 1301 w 1308"/>
                <a:gd name="T61" fmla="*/ 344 h 1200"/>
                <a:gd name="T62" fmla="*/ 965 w 1308"/>
                <a:gd name="T63" fmla="*/ 0 h 1200"/>
                <a:gd name="T64" fmla="*/ 679 w 1308"/>
                <a:gd name="T65" fmla="*/ 0 h 1200"/>
                <a:gd name="T66" fmla="*/ 343 w 1308"/>
                <a:gd name="T67" fmla="*/ 343 h 1200"/>
                <a:gd name="T68" fmla="*/ 7 w 1308"/>
                <a:gd name="T69" fmla="*/ 687 h 1200"/>
                <a:gd name="T70" fmla="*/ 7 w 1308"/>
                <a:gd name="T71" fmla="*/ 707 h 1200"/>
                <a:gd name="T72" fmla="*/ 101 w 1308"/>
                <a:gd name="T73" fmla="*/ 946 h 1200"/>
                <a:gd name="T74" fmla="*/ 0 w 1308"/>
                <a:gd name="T75" fmla="*/ 1200 h 1200"/>
                <a:gd name="T76" fmla="*/ 343 w 1308"/>
                <a:gd name="T77" fmla="*/ 1051 h 1200"/>
                <a:gd name="T78" fmla="*/ 629 w 1308"/>
                <a:gd name="T79" fmla="*/ 1051 h 1200"/>
                <a:gd name="T80" fmla="*/ 965 w 1308"/>
                <a:gd name="T81" fmla="*/ 709 h 1200"/>
                <a:gd name="T82" fmla="*/ 1308 w 1308"/>
                <a:gd name="T83" fmla="*/ 857 h 1200"/>
                <a:gd name="T84" fmla="*/ 1207 w 1308"/>
                <a:gd name="T85" fmla="*/ 603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08" h="1200">
                  <a:moveTo>
                    <a:pt x="1142" y="686"/>
                  </a:moveTo>
                  <a:cubicBezTo>
                    <a:pt x="982" y="616"/>
                    <a:pt x="982" y="616"/>
                    <a:pt x="982" y="616"/>
                  </a:cubicBezTo>
                  <a:cubicBezTo>
                    <a:pt x="976" y="617"/>
                    <a:pt x="971" y="617"/>
                    <a:pt x="965" y="617"/>
                  </a:cubicBezTo>
                  <a:cubicBezTo>
                    <a:pt x="958" y="617"/>
                    <a:pt x="958" y="617"/>
                    <a:pt x="958" y="617"/>
                  </a:cubicBezTo>
                  <a:cubicBezTo>
                    <a:pt x="927" y="461"/>
                    <a:pt x="791" y="343"/>
                    <a:pt x="629" y="343"/>
                  </a:cubicBezTo>
                  <a:cubicBezTo>
                    <a:pt x="434" y="343"/>
                    <a:pt x="434" y="343"/>
                    <a:pt x="434" y="343"/>
                  </a:cubicBezTo>
                  <a:cubicBezTo>
                    <a:pt x="435" y="204"/>
                    <a:pt x="545" y="91"/>
                    <a:pt x="679" y="91"/>
                  </a:cubicBezTo>
                  <a:cubicBezTo>
                    <a:pt x="965" y="91"/>
                    <a:pt x="965" y="91"/>
                    <a:pt x="965" y="91"/>
                  </a:cubicBezTo>
                  <a:cubicBezTo>
                    <a:pt x="1100" y="91"/>
                    <a:pt x="1210" y="205"/>
                    <a:pt x="1210" y="344"/>
                  </a:cubicBezTo>
                  <a:cubicBezTo>
                    <a:pt x="1210" y="364"/>
                    <a:pt x="1210" y="364"/>
                    <a:pt x="1210" y="364"/>
                  </a:cubicBezTo>
                  <a:cubicBezTo>
                    <a:pt x="1210" y="453"/>
                    <a:pt x="1165" y="531"/>
                    <a:pt x="1098" y="576"/>
                  </a:cubicBezTo>
                  <a:lnTo>
                    <a:pt x="1142" y="686"/>
                  </a:lnTo>
                  <a:close/>
                  <a:moveTo>
                    <a:pt x="629" y="960"/>
                  </a:moveTo>
                  <a:cubicBezTo>
                    <a:pt x="343" y="960"/>
                    <a:pt x="343" y="960"/>
                    <a:pt x="343" y="960"/>
                  </a:cubicBezTo>
                  <a:cubicBezTo>
                    <a:pt x="337" y="960"/>
                    <a:pt x="332" y="960"/>
                    <a:pt x="326" y="959"/>
                  </a:cubicBezTo>
                  <a:cubicBezTo>
                    <a:pt x="166" y="1028"/>
                    <a:pt x="166" y="1028"/>
                    <a:pt x="166" y="1028"/>
                  </a:cubicBezTo>
                  <a:cubicBezTo>
                    <a:pt x="210" y="919"/>
                    <a:pt x="210" y="919"/>
                    <a:pt x="210" y="919"/>
                  </a:cubicBezTo>
                  <a:cubicBezTo>
                    <a:pt x="143" y="874"/>
                    <a:pt x="98" y="795"/>
                    <a:pt x="98" y="707"/>
                  </a:cubicBezTo>
                  <a:cubicBezTo>
                    <a:pt x="98" y="687"/>
                    <a:pt x="98" y="687"/>
                    <a:pt x="98" y="687"/>
                  </a:cubicBezTo>
                  <a:cubicBezTo>
                    <a:pt x="98" y="548"/>
                    <a:pt x="208" y="434"/>
                    <a:pt x="343" y="434"/>
                  </a:cubicBezTo>
                  <a:cubicBezTo>
                    <a:pt x="350" y="434"/>
                    <a:pt x="350" y="434"/>
                    <a:pt x="350" y="434"/>
                  </a:cubicBezTo>
                  <a:cubicBezTo>
                    <a:pt x="444" y="434"/>
                    <a:pt x="444" y="434"/>
                    <a:pt x="444" y="434"/>
                  </a:cubicBezTo>
                  <a:cubicBezTo>
                    <a:pt x="629" y="434"/>
                    <a:pt x="629" y="434"/>
                    <a:pt x="629" y="434"/>
                  </a:cubicBezTo>
                  <a:cubicBezTo>
                    <a:pt x="740" y="434"/>
                    <a:pt x="835" y="512"/>
                    <a:pt x="864" y="617"/>
                  </a:cubicBezTo>
                  <a:cubicBezTo>
                    <a:pt x="871" y="639"/>
                    <a:pt x="874" y="663"/>
                    <a:pt x="874" y="687"/>
                  </a:cubicBezTo>
                  <a:cubicBezTo>
                    <a:pt x="874" y="707"/>
                    <a:pt x="874" y="707"/>
                    <a:pt x="874" y="707"/>
                  </a:cubicBezTo>
                  <a:cubicBezTo>
                    <a:pt x="874" y="708"/>
                    <a:pt x="874" y="708"/>
                    <a:pt x="874" y="709"/>
                  </a:cubicBezTo>
                  <a:cubicBezTo>
                    <a:pt x="873" y="847"/>
                    <a:pt x="763" y="960"/>
                    <a:pt x="629" y="960"/>
                  </a:cubicBezTo>
                  <a:close/>
                  <a:moveTo>
                    <a:pt x="1207" y="603"/>
                  </a:moveTo>
                  <a:cubicBezTo>
                    <a:pt x="1267" y="540"/>
                    <a:pt x="1301" y="455"/>
                    <a:pt x="1301" y="364"/>
                  </a:cubicBezTo>
                  <a:cubicBezTo>
                    <a:pt x="1301" y="344"/>
                    <a:pt x="1301" y="344"/>
                    <a:pt x="1301" y="344"/>
                  </a:cubicBezTo>
                  <a:cubicBezTo>
                    <a:pt x="1301" y="155"/>
                    <a:pt x="1151" y="0"/>
                    <a:pt x="965" y="0"/>
                  </a:cubicBezTo>
                  <a:cubicBezTo>
                    <a:pt x="679" y="0"/>
                    <a:pt x="679" y="0"/>
                    <a:pt x="679" y="0"/>
                  </a:cubicBezTo>
                  <a:cubicBezTo>
                    <a:pt x="494" y="0"/>
                    <a:pt x="343" y="155"/>
                    <a:pt x="343" y="343"/>
                  </a:cubicBezTo>
                  <a:cubicBezTo>
                    <a:pt x="157" y="343"/>
                    <a:pt x="7" y="498"/>
                    <a:pt x="7" y="687"/>
                  </a:cubicBezTo>
                  <a:cubicBezTo>
                    <a:pt x="7" y="707"/>
                    <a:pt x="7" y="707"/>
                    <a:pt x="7" y="707"/>
                  </a:cubicBezTo>
                  <a:cubicBezTo>
                    <a:pt x="7" y="798"/>
                    <a:pt x="41" y="882"/>
                    <a:pt x="101" y="946"/>
                  </a:cubicBezTo>
                  <a:cubicBezTo>
                    <a:pt x="0" y="1200"/>
                    <a:pt x="0" y="1200"/>
                    <a:pt x="0" y="1200"/>
                  </a:cubicBezTo>
                  <a:cubicBezTo>
                    <a:pt x="343" y="1051"/>
                    <a:pt x="343" y="1051"/>
                    <a:pt x="343" y="1051"/>
                  </a:cubicBezTo>
                  <a:cubicBezTo>
                    <a:pt x="629" y="1051"/>
                    <a:pt x="629" y="1051"/>
                    <a:pt x="629" y="1051"/>
                  </a:cubicBezTo>
                  <a:cubicBezTo>
                    <a:pt x="814" y="1051"/>
                    <a:pt x="965" y="897"/>
                    <a:pt x="965" y="709"/>
                  </a:cubicBezTo>
                  <a:cubicBezTo>
                    <a:pt x="1308" y="857"/>
                    <a:pt x="1308" y="857"/>
                    <a:pt x="1308" y="857"/>
                  </a:cubicBezTo>
                  <a:lnTo>
                    <a:pt x="1207" y="603"/>
                  </a:ln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67" name="Group 166">
            <a:extLst>
              <a:ext uri="{FF2B5EF4-FFF2-40B4-BE49-F238E27FC236}">
                <a16:creationId xmlns:a16="http://schemas.microsoft.com/office/drawing/2014/main" id="{C4163997-4615-43B7-A232-F8E36D3BE752}"/>
              </a:ext>
            </a:extLst>
          </p:cNvPr>
          <p:cNvGrpSpPr/>
          <p:nvPr/>
        </p:nvGrpSpPr>
        <p:grpSpPr>
          <a:xfrm>
            <a:off x="6032977" y="1975112"/>
            <a:ext cx="557073" cy="557073"/>
            <a:chOff x="6107904" y="1703606"/>
            <a:chExt cx="568324" cy="568324"/>
          </a:xfrm>
        </p:grpSpPr>
        <p:sp>
          <p:nvSpPr>
            <p:cNvPr id="94" name="Oval 93">
              <a:extLst>
                <a:ext uri="{FF2B5EF4-FFF2-40B4-BE49-F238E27FC236}">
                  <a16:creationId xmlns:a16="http://schemas.microsoft.com/office/drawing/2014/main" id="{8FE482BF-982E-410A-A58E-70DE89C433AD}"/>
                </a:ext>
              </a:extLst>
            </p:cNvPr>
            <p:cNvSpPr/>
            <p:nvPr/>
          </p:nvSpPr>
          <p:spPr bwMode="auto">
            <a:xfrm rot="1291740">
              <a:off x="6107904" y="1703606"/>
              <a:ext cx="568324" cy="568324"/>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1" name="Freeform 34">
              <a:extLst>
                <a:ext uri="{FF2B5EF4-FFF2-40B4-BE49-F238E27FC236}">
                  <a16:creationId xmlns:a16="http://schemas.microsoft.com/office/drawing/2014/main" id="{4A3D34A6-DFE5-48BE-8B8F-622DD08A11A2}"/>
                </a:ext>
              </a:extLst>
            </p:cNvPr>
            <p:cNvSpPr>
              <a:spLocks noEditPoints="1"/>
            </p:cNvSpPr>
            <p:nvPr/>
          </p:nvSpPr>
          <p:spPr bwMode="auto">
            <a:xfrm>
              <a:off x="6235506" y="1826807"/>
              <a:ext cx="313121" cy="321923"/>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solidFill>
              <a:schemeClr val="tx1"/>
            </a:solidFill>
            <a:ln>
              <a:noFill/>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grpSp>
      <p:sp>
        <p:nvSpPr>
          <p:cNvPr id="123" name="TextBox 122">
            <a:extLst>
              <a:ext uri="{FF2B5EF4-FFF2-40B4-BE49-F238E27FC236}">
                <a16:creationId xmlns:a16="http://schemas.microsoft.com/office/drawing/2014/main" id="{10A373AD-040E-41C1-BF3D-5FE8069BDEB0}"/>
              </a:ext>
            </a:extLst>
          </p:cNvPr>
          <p:cNvSpPr txBox="1"/>
          <p:nvPr/>
        </p:nvSpPr>
        <p:spPr>
          <a:xfrm>
            <a:off x="5255575" y="2180388"/>
            <a:ext cx="706925" cy="142347"/>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Bing Search</a:t>
            </a:r>
          </a:p>
        </p:txBody>
      </p:sp>
      <p:grpSp>
        <p:nvGrpSpPr>
          <p:cNvPr id="161" name="Group 160">
            <a:extLst>
              <a:ext uri="{FF2B5EF4-FFF2-40B4-BE49-F238E27FC236}">
                <a16:creationId xmlns:a16="http://schemas.microsoft.com/office/drawing/2014/main" id="{3936532F-4A62-41B0-8134-F405E5BC5CF6}"/>
              </a:ext>
            </a:extLst>
          </p:cNvPr>
          <p:cNvGrpSpPr/>
          <p:nvPr/>
        </p:nvGrpSpPr>
        <p:grpSpPr>
          <a:xfrm>
            <a:off x="7477494" y="1850033"/>
            <a:ext cx="1531474" cy="1370455"/>
            <a:chOff x="6871900" y="1590965"/>
            <a:chExt cx="1562405" cy="1398133"/>
          </a:xfrm>
        </p:grpSpPr>
        <p:sp>
          <p:nvSpPr>
            <p:cNvPr id="130" name="Oval 129">
              <a:extLst>
                <a:ext uri="{FF2B5EF4-FFF2-40B4-BE49-F238E27FC236}">
                  <a16:creationId xmlns:a16="http://schemas.microsoft.com/office/drawing/2014/main" id="{9F6F5C3A-06E8-4778-8470-1EAF63FAD2B9}"/>
                </a:ext>
              </a:extLst>
            </p:cNvPr>
            <p:cNvSpPr/>
            <p:nvPr/>
          </p:nvSpPr>
          <p:spPr bwMode="auto">
            <a:xfrm>
              <a:off x="7155849" y="1590965"/>
              <a:ext cx="365760" cy="365760"/>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9" name="TextBox 128">
              <a:extLst>
                <a:ext uri="{FF2B5EF4-FFF2-40B4-BE49-F238E27FC236}">
                  <a16:creationId xmlns:a16="http://schemas.microsoft.com/office/drawing/2014/main" id="{22F134E6-351F-44DD-A2F2-228A450F6EFA}"/>
                </a:ext>
              </a:extLst>
            </p:cNvPr>
            <p:cNvSpPr txBox="1"/>
            <p:nvPr/>
          </p:nvSpPr>
          <p:spPr>
            <a:xfrm>
              <a:off x="7255325" y="1731382"/>
              <a:ext cx="166809" cy="83078"/>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58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tart</a:t>
              </a:r>
            </a:p>
          </p:txBody>
        </p:sp>
        <p:grpSp>
          <p:nvGrpSpPr>
            <p:cNvPr id="83" name="Group 82">
              <a:extLst>
                <a:ext uri="{FF2B5EF4-FFF2-40B4-BE49-F238E27FC236}">
                  <a16:creationId xmlns:a16="http://schemas.microsoft.com/office/drawing/2014/main" id="{4719ED3B-D0AC-447F-9BD8-2C080807577C}"/>
                </a:ext>
              </a:extLst>
            </p:cNvPr>
            <p:cNvGrpSpPr/>
            <p:nvPr/>
          </p:nvGrpSpPr>
          <p:grpSpPr>
            <a:xfrm>
              <a:off x="8068545" y="2058652"/>
              <a:ext cx="365760" cy="365760"/>
              <a:chOff x="8663471" y="2054156"/>
              <a:chExt cx="365760" cy="365760"/>
            </a:xfrm>
          </p:grpSpPr>
          <p:sp>
            <p:nvSpPr>
              <p:cNvPr id="86" name="Oval 85">
                <a:extLst>
                  <a:ext uri="{FF2B5EF4-FFF2-40B4-BE49-F238E27FC236}">
                    <a16:creationId xmlns:a16="http://schemas.microsoft.com/office/drawing/2014/main" id="{36CD0404-F2FA-4C2E-A3AE-E7A0A7EDEAE7}"/>
                  </a:ext>
                </a:extLst>
              </p:cNvPr>
              <p:cNvSpPr/>
              <p:nvPr/>
            </p:nvSpPr>
            <p:spPr bwMode="auto">
              <a:xfrm>
                <a:off x="8663471" y="2054156"/>
                <a:ext cx="365760" cy="365760"/>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6" name="TextBox 135">
                <a:extLst>
                  <a:ext uri="{FF2B5EF4-FFF2-40B4-BE49-F238E27FC236}">
                    <a16:creationId xmlns:a16="http://schemas.microsoft.com/office/drawing/2014/main" id="{A16C50DF-6DE7-468C-97F4-AF12F78386EF}"/>
                  </a:ext>
                </a:extLst>
              </p:cNvPr>
              <p:cNvSpPr txBox="1"/>
              <p:nvPr/>
            </p:nvSpPr>
            <p:spPr>
              <a:xfrm>
                <a:off x="8726221" y="2206247"/>
                <a:ext cx="243672" cy="83078"/>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58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tate 2</a:t>
                </a:r>
              </a:p>
            </p:txBody>
          </p:sp>
        </p:grpSp>
        <p:grpSp>
          <p:nvGrpSpPr>
            <p:cNvPr id="107" name="Group 106">
              <a:extLst>
                <a:ext uri="{FF2B5EF4-FFF2-40B4-BE49-F238E27FC236}">
                  <a16:creationId xmlns:a16="http://schemas.microsoft.com/office/drawing/2014/main" id="{2F40FA33-3719-4797-9423-88CDB011A738}"/>
                </a:ext>
              </a:extLst>
            </p:cNvPr>
            <p:cNvGrpSpPr/>
            <p:nvPr/>
          </p:nvGrpSpPr>
          <p:grpSpPr>
            <a:xfrm>
              <a:off x="7729805" y="2623338"/>
              <a:ext cx="365760" cy="365760"/>
              <a:chOff x="8324731" y="2502094"/>
              <a:chExt cx="365760" cy="365760"/>
            </a:xfrm>
          </p:grpSpPr>
          <p:sp>
            <p:nvSpPr>
              <p:cNvPr id="132" name="Oval 131">
                <a:extLst>
                  <a:ext uri="{FF2B5EF4-FFF2-40B4-BE49-F238E27FC236}">
                    <a16:creationId xmlns:a16="http://schemas.microsoft.com/office/drawing/2014/main" id="{68BDD235-470B-4484-82DE-2B378FCBEBFD}"/>
                  </a:ext>
                </a:extLst>
              </p:cNvPr>
              <p:cNvSpPr/>
              <p:nvPr/>
            </p:nvSpPr>
            <p:spPr bwMode="auto">
              <a:xfrm>
                <a:off x="8324731" y="2502094"/>
                <a:ext cx="365760" cy="365760"/>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7" name="TextBox 136">
                <a:extLst>
                  <a:ext uri="{FF2B5EF4-FFF2-40B4-BE49-F238E27FC236}">
                    <a16:creationId xmlns:a16="http://schemas.microsoft.com/office/drawing/2014/main" id="{27F89D27-7FA7-485C-8777-D7007A2A2C88}"/>
                  </a:ext>
                </a:extLst>
              </p:cNvPr>
              <p:cNvSpPr txBox="1"/>
              <p:nvPr/>
            </p:nvSpPr>
            <p:spPr>
              <a:xfrm>
                <a:off x="8389673" y="2658064"/>
                <a:ext cx="243672" cy="83078"/>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58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tate 3</a:t>
                </a:r>
              </a:p>
            </p:txBody>
          </p:sp>
        </p:grpSp>
        <p:cxnSp>
          <p:nvCxnSpPr>
            <p:cNvPr id="111" name="Connector: Elbow 110">
              <a:extLst>
                <a:ext uri="{FF2B5EF4-FFF2-40B4-BE49-F238E27FC236}">
                  <a16:creationId xmlns:a16="http://schemas.microsoft.com/office/drawing/2014/main" id="{D7842054-482B-4EFB-80B3-DFCA4D948738}"/>
                </a:ext>
              </a:extLst>
            </p:cNvPr>
            <p:cNvCxnSpPr>
              <a:stCxn id="130" idx="3"/>
              <a:endCxn id="135" idx="1"/>
            </p:cNvCxnSpPr>
            <p:nvPr/>
          </p:nvCxnSpPr>
          <p:spPr>
            <a:xfrm rot="16200000" flipH="1">
              <a:off x="7116913" y="1995659"/>
              <a:ext cx="337906" cy="152906"/>
            </a:xfrm>
            <a:prstGeom prst="bentConnector2">
              <a:avLst/>
            </a:prstGeom>
            <a:ln>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334681BD-6950-405C-BA5B-307BA381C681}"/>
                </a:ext>
              </a:extLst>
            </p:cNvPr>
            <p:cNvGrpSpPr/>
            <p:nvPr/>
          </p:nvGrpSpPr>
          <p:grpSpPr>
            <a:xfrm>
              <a:off x="7303929" y="2050181"/>
              <a:ext cx="365760" cy="365760"/>
              <a:chOff x="7898855" y="2045685"/>
              <a:chExt cx="365760" cy="365760"/>
            </a:xfrm>
          </p:grpSpPr>
          <p:sp>
            <p:nvSpPr>
              <p:cNvPr id="131" name="Oval 130">
                <a:extLst>
                  <a:ext uri="{FF2B5EF4-FFF2-40B4-BE49-F238E27FC236}">
                    <a16:creationId xmlns:a16="http://schemas.microsoft.com/office/drawing/2014/main" id="{BC063C73-2E99-493E-A78E-FD2209C144BB}"/>
                  </a:ext>
                </a:extLst>
              </p:cNvPr>
              <p:cNvSpPr/>
              <p:nvPr/>
            </p:nvSpPr>
            <p:spPr bwMode="auto">
              <a:xfrm>
                <a:off x="7898855" y="2045685"/>
                <a:ext cx="365760" cy="365760"/>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5" name="TextBox 134">
                <a:extLst>
                  <a:ext uri="{FF2B5EF4-FFF2-40B4-BE49-F238E27FC236}">
                    <a16:creationId xmlns:a16="http://schemas.microsoft.com/office/drawing/2014/main" id="{583F2BA2-29A3-4976-B41B-00D15EF59717}"/>
                  </a:ext>
                </a:extLst>
              </p:cNvPr>
              <p:cNvSpPr txBox="1"/>
              <p:nvPr/>
            </p:nvSpPr>
            <p:spPr>
              <a:xfrm>
                <a:off x="7957246" y="2195032"/>
                <a:ext cx="232224" cy="83078"/>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58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tate 1</a:t>
                </a:r>
              </a:p>
            </p:txBody>
          </p:sp>
        </p:grpSp>
        <p:cxnSp>
          <p:nvCxnSpPr>
            <p:cNvPr id="122" name="Connector: Elbow 121">
              <a:extLst>
                <a:ext uri="{FF2B5EF4-FFF2-40B4-BE49-F238E27FC236}">
                  <a16:creationId xmlns:a16="http://schemas.microsoft.com/office/drawing/2014/main" id="{53505283-699E-4694-A5C9-9013BC7E06AC}"/>
                </a:ext>
              </a:extLst>
            </p:cNvPr>
            <p:cNvCxnSpPr>
              <a:cxnSpLocks/>
              <a:stCxn id="131" idx="0"/>
              <a:endCxn id="86" idx="0"/>
            </p:cNvCxnSpPr>
            <p:nvPr/>
          </p:nvCxnSpPr>
          <p:spPr>
            <a:xfrm rot="16200000" flipH="1">
              <a:off x="7864881" y="1672108"/>
              <a:ext cx="8471" cy="764616"/>
            </a:xfrm>
            <a:prstGeom prst="bentConnector3">
              <a:avLst>
                <a:gd name="adj1" fmla="val -899540"/>
              </a:avLst>
            </a:prstGeom>
            <a:ln>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Connector: Elbow 125">
              <a:extLst>
                <a:ext uri="{FF2B5EF4-FFF2-40B4-BE49-F238E27FC236}">
                  <a16:creationId xmlns:a16="http://schemas.microsoft.com/office/drawing/2014/main" id="{BFC7E245-514E-4E3F-ACFB-261AC21E49C6}"/>
                </a:ext>
              </a:extLst>
            </p:cNvPr>
            <p:cNvCxnSpPr>
              <a:cxnSpLocks/>
              <a:stCxn id="131" idx="4"/>
              <a:endCxn id="86" idx="4"/>
            </p:cNvCxnSpPr>
            <p:nvPr/>
          </p:nvCxnSpPr>
          <p:spPr>
            <a:xfrm rot="16200000" flipH="1">
              <a:off x="7864882" y="2037868"/>
              <a:ext cx="8471" cy="764616"/>
            </a:xfrm>
            <a:prstGeom prst="bentConnector3">
              <a:avLst>
                <a:gd name="adj1" fmla="val 999516"/>
              </a:avLst>
            </a:prstGeom>
            <a:ln>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731B43D7-48FE-4956-BCF6-02651D300FC7}"/>
                </a:ext>
              </a:extLst>
            </p:cNvPr>
            <p:cNvSpPr txBox="1"/>
            <p:nvPr/>
          </p:nvSpPr>
          <p:spPr>
            <a:xfrm>
              <a:off x="7672055" y="2453596"/>
              <a:ext cx="408846" cy="83078"/>
            </a:xfrm>
            <a:prstGeom prst="rect">
              <a:avLst/>
            </a:prstGeom>
            <a:solidFill>
              <a:schemeClr val="bg1"/>
            </a:solid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58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Transition 3</a:t>
              </a:r>
            </a:p>
          </p:txBody>
        </p:sp>
        <p:sp>
          <p:nvSpPr>
            <p:cNvPr id="134" name="TextBox 133">
              <a:extLst>
                <a:ext uri="{FF2B5EF4-FFF2-40B4-BE49-F238E27FC236}">
                  <a16:creationId xmlns:a16="http://schemas.microsoft.com/office/drawing/2014/main" id="{00001FEB-75E4-4B7F-9B9A-F580DC35D166}"/>
                </a:ext>
              </a:extLst>
            </p:cNvPr>
            <p:cNvSpPr txBox="1"/>
            <p:nvPr/>
          </p:nvSpPr>
          <p:spPr>
            <a:xfrm>
              <a:off x="7672054" y="1929033"/>
              <a:ext cx="408846" cy="83078"/>
            </a:xfrm>
            <a:prstGeom prst="rect">
              <a:avLst/>
            </a:prstGeom>
            <a:solidFill>
              <a:schemeClr val="bg1"/>
            </a:solid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58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Transition 2</a:t>
              </a:r>
            </a:p>
          </p:txBody>
        </p:sp>
        <p:cxnSp>
          <p:nvCxnSpPr>
            <p:cNvPr id="1025" name="Connector: Elbow 1024">
              <a:extLst>
                <a:ext uri="{FF2B5EF4-FFF2-40B4-BE49-F238E27FC236}">
                  <a16:creationId xmlns:a16="http://schemas.microsoft.com/office/drawing/2014/main" id="{165CB547-C90B-412A-A2AA-2D3B85B75710}"/>
                </a:ext>
              </a:extLst>
            </p:cNvPr>
            <p:cNvCxnSpPr>
              <a:stCxn id="131" idx="3"/>
              <a:endCxn id="132" idx="2"/>
            </p:cNvCxnSpPr>
            <p:nvPr/>
          </p:nvCxnSpPr>
          <p:spPr>
            <a:xfrm rot="16200000" flipH="1">
              <a:off x="7321729" y="2398141"/>
              <a:ext cx="443841" cy="372312"/>
            </a:xfrm>
            <a:prstGeom prst="bentConnector2">
              <a:avLst/>
            </a:prstGeom>
            <a:ln>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2" name="TextBox 141">
              <a:extLst>
                <a:ext uri="{FF2B5EF4-FFF2-40B4-BE49-F238E27FC236}">
                  <a16:creationId xmlns:a16="http://schemas.microsoft.com/office/drawing/2014/main" id="{625AE64E-1B53-4CBB-82CB-994B792B9A19}"/>
                </a:ext>
              </a:extLst>
            </p:cNvPr>
            <p:cNvSpPr txBox="1"/>
            <p:nvPr/>
          </p:nvSpPr>
          <p:spPr>
            <a:xfrm>
              <a:off x="7259915" y="2762381"/>
              <a:ext cx="410480" cy="83078"/>
            </a:xfrm>
            <a:prstGeom prst="rect">
              <a:avLst/>
            </a:prstGeom>
            <a:solidFill>
              <a:schemeClr val="bg1"/>
            </a:solid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58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Transition 4</a:t>
              </a:r>
            </a:p>
          </p:txBody>
        </p:sp>
        <p:sp>
          <p:nvSpPr>
            <p:cNvPr id="133" name="TextBox 132">
              <a:extLst>
                <a:ext uri="{FF2B5EF4-FFF2-40B4-BE49-F238E27FC236}">
                  <a16:creationId xmlns:a16="http://schemas.microsoft.com/office/drawing/2014/main" id="{11778800-6F6F-4BE1-965B-DFC31C373181}"/>
                </a:ext>
              </a:extLst>
            </p:cNvPr>
            <p:cNvSpPr txBox="1"/>
            <p:nvPr/>
          </p:nvSpPr>
          <p:spPr>
            <a:xfrm>
              <a:off x="6871900" y="2008378"/>
              <a:ext cx="397397" cy="83078"/>
            </a:xfrm>
            <a:prstGeom prst="rect">
              <a:avLst/>
            </a:prstGeom>
            <a:solidFill>
              <a:schemeClr val="bg1"/>
            </a:solid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58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Transition 1</a:t>
              </a:r>
            </a:p>
          </p:txBody>
        </p:sp>
      </p:grpSp>
      <p:sp>
        <p:nvSpPr>
          <p:cNvPr id="153" name="TextBox 152">
            <a:extLst>
              <a:ext uri="{FF2B5EF4-FFF2-40B4-BE49-F238E27FC236}">
                <a16:creationId xmlns:a16="http://schemas.microsoft.com/office/drawing/2014/main" id="{3ECC1C26-4C7D-418A-B445-A63BEA2A989B}"/>
              </a:ext>
            </a:extLst>
          </p:cNvPr>
          <p:cNvSpPr txBox="1"/>
          <p:nvPr/>
        </p:nvSpPr>
        <p:spPr>
          <a:xfrm>
            <a:off x="8813766" y="2920076"/>
            <a:ext cx="822148" cy="325858"/>
          </a:xfrm>
          <a:prstGeom prst="rect">
            <a:avLst/>
          </a:prstGeom>
          <a:noFill/>
        </p:spPr>
        <p:txBody>
          <a:bodyPr wrap="square" lIns="0" tIns="0" rIns="0" bIns="0"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Bot Framework SDK Dialog </a:t>
            </a:r>
            <a:br>
              <a:rPr kumimoji="0" lang="en-US" sz="784"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784"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manager</a:t>
            </a:r>
          </a:p>
        </p:txBody>
      </p:sp>
      <p:cxnSp>
        <p:nvCxnSpPr>
          <p:cNvPr id="1029" name="Straight Connector 1028">
            <a:extLst>
              <a:ext uri="{FF2B5EF4-FFF2-40B4-BE49-F238E27FC236}">
                <a16:creationId xmlns:a16="http://schemas.microsoft.com/office/drawing/2014/main" id="{41FFB9C0-1870-4BE1-B2B9-98728305162F}"/>
              </a:ext>
            </a:extLst>
          </p:cNvPr>
          <p:cNvCxnSpPr>
            <a:cxnSpLocks/>
            <a:stCxn id="94" idx="5"/>
            <a:endCxn id="58" idx="0"/>
          </p:cNvCxnSpPr>
          <p:nvPr/>
        </p:nvCxnSpPr>
        <p:spPr>
          <a:xfrm>
            <a:off x="6422451" y="2509139"/>
            <a:ext cx="216733" cy="363562"/>
          </a:xfrm>
          <a:prstGeom prst="lin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33" name="Straight Connector 1032">
            <a:extLst>
              <a:ext uri="{FF2B5EF4-FFF2-40B4-BE49-F238E27FC236}">
                <a16:creationId xmlns:a16="http://schemas.microsoft.com/office/drawing/2014/main" id="{81FBD869-5738-4CA2-B2AD-AD0A823D796A}"/>
              </a:ext>
            </a:extLst>
          </p:cNvPr>
          <p:cNvCxnSpPr>
            <a:cxnSpLocks/>
            <a:stCxn id="84" idx="6"/>
            <a:endCxn id="58" idx="1"/>
          </p:cNvCxnSpPr>
          <p:nvPr/>
        </p:nvCxnSpPr>
        <p:spPr>
          <a:xfrm>
            <a:off x="5827099" y="3044525"/>
            <a:ext cx="411755" cy="185342"/>
          </a:xfrm>
          <a:prstGeom prst="lin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37" name="Straight Connector 1036">
            <a:extLst>
              <a:ext uri="{FF2B5EF4-FFF2-40B4-BE49-F238E27FC236}">
                <a16:creationId xmlns:a16="http://schemas.microsoft.com/office/drawing/2014/main" id="{237F6B00-2AE5-459E-AAA3-1E5EC4D5187A}"/>
              </a:ext>
            </a:extLst>
          </p:cNvPr>
          <p:cNvCxnSpPr>
            <a:cxnSpLocks/>
            <a:stCxn id="88" idx="6"/>
            <a:endCxn id="58" idx="2"/>
          </p:cNvCxnSpPr>
          <p:nvPr/>
        </p:nvCxnSpPr>
        <p:spPr>
          <a:xfrm flipV="1">
            <a:off x="5180255" y="3765499"/>
            <a:ext cx="1028080" cy="2920"/>
          </a:xfrm>
          <a:prstGeom prst="lin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41" name="Straight Connector 1040">
            <a:extLst>
              <a:ext uri="{FF2B5EF4-FFF2-40B4-BE49-F238E27FC236}">
                <a16:creationId xmlns:a16="http://schemas.microsoft.com/office/drawing/2014/main" id="{E0FB90FF-CAA7-49E1-9923-2EF72CC10F59}"/>
              </a:ext>
            </a:extLst>
          </p:cNvPr>
          <p:cNvCxnSpPr>
            <a:cxnSpLocks/>
            <a:stCxn id="92" idx="7"/>
            <a:endCxn id="58" idx="3"/>
          </p:cNvCxnSpPr>
          <p:nvPr/>
        </p:nvCxnSpPr>
        <p:spPr>
          <a:xfrm flipV="1">
            <a:off x="6189487" y="4165828"/>
            <a:ext cx="376016" cy="432010"/>
          </a:xfrm>
          <a:prstGeom prst="lin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47" name="Straight Connector 1046">
            <a:extLst>
              <a:ext uri="{FF2B5EF4-FFF2-40B4-BE49-F238E27FC236}">
                <a16:creationId xmlns:a16="http://schemas.microsoft.com/office/drawing/2014/main" id="{3AA239FF-BA36-4631-BE02-86CEE0DEFDCD}"/>
              </a:ext>
            </a:extLst>
          </p:cNvPr>
          <p:cNvCxnSpPr>
            <a:cxnSpLocks/>
            <a:stCxn id="97" idx="2"/>
            <a:endCxn id="58" idx="4"/>
          </p:cNvCxnSpPr>
          <p:nvPr/>
        </p:nvCxnSpPr>
        <p:spPr>
          <a:xfrm flipH="1" flipV="1">
            <a:off x="7101134" y="4196347"/>
            <a:ext cx="255950" cy="334133"/>
          </a:xfrm>
          <a:prstGeom prst="lin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28" name="Rectangle 127">
            <a:extLst>
              <a:ext uri="{FF2B5EF4-FFF2-40B4-BE49-F238E27FC236}">
                <a16:creationId xmlns:a16="http://schemas.microsoft.com/office/drawing/2014/main" id="{813CBB39-1601-45D7-8753-B0FDE9723077}"/>
              </a:ext>
            </a:extLst>
          </p:cNvPr>
          <p:cNvSpPr/>
          <p:nvPr/>
        </p:nvSpPr>
        <p:spPr bwMode="auto">
          <a:xfrm>
            <a:off x="10211101" y="3410195"/>
            <a:ext cx="1336978" cy="33572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138" name="Picture 137">
            <a:extLst>
              <a:ext uri="{FF2B5EF4-FFF2-40B4-BE49-F238E27FC236}">
                <a16:creationId xmlns:a16="http://schemas.microsoft.com/office/drawing/2014/main" id="{107AA9EA-9011-4C65-B357-F0ACE69C5DD8}"/>
              </a:ext>
            </a:extLst>
          </p:cNvPr>
          <p:cNvPicPr>
            <a:picLocks noChangeAspect="1"/>
          </p:cNvPicPr>
          <p:nvPr/>
        </p:nvPicPr>
        <p:blipFill>
          <a:blip r:embed="rId9"/>
          <a:stretch>
            <a:fillRect/>
          </a:stretch>
        </p:blipFill>
        <p:spPr>
          <a:xfrm>
            <a:off x="10569496" y="3445247"/>
            <a:ext cx="241424" cy="242689"/>
          </a:xfrm>
          <a:prstGeom prst="rect">
            <a:avLst/>
          </a:prstGeom>
        </p:spPr>
      </p:pic>
      <p:sp>
        <p:nvSpPr>
          <p:cNvPr id="109" name="TextBox 108">
            <a:extLst>
              <a:ext uri="{FF2B5EF4-FFF2-40B4-BE49-F238E27FC236}">
                <a16:creationId xmlns:a16="http://schemas.microsoft.com/office/drawing/2014/main" id="{E6C70E18-D839-4C30-8A9A-8E84A10ABAA0}"/>
              </a:ext>
            </a:extLst>
          </p:cNvPr>
          <p:cNvSpPr txBox="1"/>
          <p:nvPr/>
        </p:nvSpPr>
        <p:spPr>
          <a:xfrm>
            <a:off x="10868262" y="3521848"/>
            <a:ext cx="248466" cy="108619"/>
          </a:xfrm>
          <a:prstGeom prst="rect">
            <a:avLst/>
          </a:prstGeom>
          <a:noFill/>
        </p:spPr>
        <p:txBody>
          <a:bodyPr wrap="none" lIns="0" tIns="0" rIns="0" bIns="0"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IFTTT</a:t>
            </a:r>
          </a:p>
        </p:txBody>
      </p:sp>
      <p:sp>
        <p:nvSpPr>
          <p:cNvPr id="3" name="TextBox 2"/>
          <p:cNvSpPr txBox="1"/>
          <p:nvPr/>
        </p:nvSpPr>
        <p:spPr>
          <a:xfrm>
            <a:off x="7820" y="544104"/>
            <a:ext cx="12190271" cy="658896"/>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2353" b="1" i="0" u="none" strike="noStrike" kern="1200" cap="none" spc="0" normalizeH="0" baseline="0" noProof="0">
                <a:ln>
                  <a:noFill/>
                </a:ln>
                <a:solidFill>
                  <a:srgbClr val="FFFFFF"/>
                </a:solidFill>
                <a:effectLst/>
                <a:uLnTx/>
                <a:uFillTx/>
                <a:latin typeface="Segoe UI"/>
                <a:ea typeface="+mn-ea"/>
                <a:cs typeface="+mn-cs"/>
              </a:rPr>
              <a:t>Conversational AI: Azure Bot Service + Cognitive Services</a:t>
            </a:r>
            <a:endParaRPr kumimoji="0" lang="en-US" sz="2353" b="0" i="0" u="none" strike="noStrike" kern="1200" cap="none" spc="0" normalizeH="0" baseline="0" noProof="0">
              <a:ln>
                <a:noFill/>
              </a:ln>
              <a:solidFill>
                <a:srgbClr val="FFFFFF"/>
              </a:solidFill>
              <a:effectLst/>
              <a:uLnTx/>
              <a:uFillTx/>
              <a:latin typeface="Segoe UI"/>
              <a:ea typeface="+mn-ea"/>
              <a:cs typeface="+mn-cs"/>
            </a:endParaRPr>
          </a:p>
        </p:txBody>
      </p:sp>
      <p:pic>
        <p:nvPicPr>
          <p:cNvPr id="5" name="Picture 4"/>
          <p:cNvPicPr>
            <a:picLocks noChangeAspect="1"/>
          </p:cNvPicPr>
          <p:nvPr/>
        </p:nvPicPr>
        <p:blipFill>
          <a:blip r:embed="rId10"/>
          <a:stretch>
            <a:fillRect/>
          </a:stretch>
        </p:blipFill>
        <p:spPr>
          <a:xfrm>
            <a:off x="2939399" y="4520903"/>
            <a:ext cx="443187" cy="420460"/>
          </a:xfrm>
          <a:prstGeom prst="rect">
            <a:avLst/>
          </a:prstGeom>
        </p:spPr>
      </p:pic>
      <p:pic>
        <p:nvPicPr>
          <p:cNvPr id="10" name="Picture 9"/>
          <p:cNvPicPr>
            <a:picLocks noChangeAspect="1"/>
          </p:cNvPicPr>
          <p:nvPr/>
        </p:nvPicPr>
        <p:blipFill>
          <a:blip r:embed="rId11"/>
          <a:stretch>
            <a:fillRect/>
          </a:stretch>
        </p:blipFill>
        <p:spPr>
          <a:xfrm>
            <a:off x="2154516" y="3361277"/>
            <a:ext cx="141926" cy="237508"/>
          </a:xfrm>
          <a:prstGeom prst="rect">
            <a:avLst/>
          </a:prstGeom>
        </p:spPr>
      </p:pic>
      <p:pic>
        <p:nvPicPr>
          <p:cNvPr id="143" name="Picture 142"/>
          <p:cNvPicPr>
            <a:picLocks noChangeAspect="1"/>
          </p:cNvPicPr>
          <p:nvPr/>
        </p:nvPicPr>
        <p:blipFill>
          <a:blip r:embed="rId11"/>
          <a:stretch>
            <a:fillRect/>
          </a:stretch>
        </p:blipFill>
        <p:spPr>
          <a:xfrm>
            <a:off x="4033897" y="3361277"/>
            <a:ext cx="141926" cy="237508"/>
          </a:xfrm>
          <a:prstGeom prst="rect">
            <a:avLst/>
          </a:prstGeom>
        </p:spPr>
      </p:pic>
      <p:pic>
        <p:nvPicPr>
          <p:cNvPr id="144" name="Picture 143"/>
          <p:cNvPicPr>
            <a:picLocks noChangeAspect="1"/>
          </p:cNvPicPr>
          <p:nvPr/>
        </p:nvPicPr>
        <p:blipFill>
          <a:blip r:embed="rId11"/>
          <a:stretch>
            <a:fillRect/>
          </a:stretch>
        </p:blipFill>
        <p:spPr>
          <a:xfrm>
            <a:off x="9759088" y="3361277"/>
            <a:ext cx="141926" cy="237508"/>
          </a:xfrm>
          <a:prstGeom prst="rect">
            <a:avLst/>
          </a:prstGeom>
        </p:spPr>
      </p:pic>
      <p:sp>
        <p:nvSpPr>
          <p:cNvPr id="146" name="TextBox 145">
            <a:extLst>
              <a:ext uri="{FF2B5EF4-FFF2-40B4-BE49-F238E27FC236}">
                <a16:creationId xmlns:a16="http://schemas.microsoft.com/office/drawing/2014/main" id="{3B1A8166-54EE-4AB9-A292-9011578D1FF0}"/>
              </a:ext>
            </a:extLst>
          </p:cNvPr>
          <p:cNvSpPr txBox="1"/>
          <p:nvPr/>
        </p:nvSpPr>
        <p:spPr>
          <a:xfrm>
            <a:off x="796589" y="6150491"/>
            <a:ext cx="1298234" cy="483360"/>
          </a:xfrm>
          <a:prstGeom prst="rect">
            <a:avLst/>
          </a:prstGeom>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371"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zure Tools</a:t>
            </a:r>
          </a:p>
        </p:txBody>
      </p:sp>
      <p:sp>
        <p:nvSpPr>
          <p:cNvPr id="147" name="Rectangle 146">
            <a:extLst>
              <a:ext uri="{FF2B5EF4-FFF2-40B4-BE49-F238E27FC236}">
                <a16:creationId xmlns:a16="http://schemas.microsoft.com/office/drawing/2014/main" id="{51049005-9633-4D22-826B-41036AF891A5}"/>
              </a:ext>
            </a:extLst>
          </p:cNvPr>
          <p:cNvSpPr/>
          <p:nvPr/>
        </p:nvSpPr>
        <p:spPr bwMode="auto">
          <a:xfrm>
            <a:off x="10211757" y="2134724"/>
            <a:ext cx="1336978" cy="33572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1044" name="Picture 20" descr="Image result for azure logo png">
            <a:extLst>
              <a:ext uri="{FF2B5EF4-FFF2-40B4-BE49-F238E27FC236}">
                <a16:creationId xmlns:a16="http://schemas.microsoft.com/office/drawing/2014/main" id="{D4C846F8-BFC7-41B1-8BED-E4D4B9D1989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502059" y="2263967"/>
            <a:ext cx="756371" cy="91529"/>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p:cNvPicPr>
            <a:picLocks noChangeAspect="1"/>
          </p:cNvPicPr>
          <p:nvPr/>
        </p:nvPicPr>
        <p:blipFill rotWithShape="1">
          <a:blip r:embed="rId13"/>
          <a:srcRect t="38180"/>
          <a:stretch/>
        </p:blipFill>
        <p:spPr>
          <a:xfrm>
            <a:off x="2939899" y="3383395"/>
            <a:ext cx="442187" cy="480046"/>
          </a:xfrm>
          <a:prstGeom prst="rect">
            <a:avLst/>
          </a:prstGeom>
        </p:spPr>
      </p:pic>
      <p:pic>
        <p:nvPicPr>
          <p:cNvPr id="46" name="Picture 45"/>
          <p:cNvPicPr>
            <a:picLocks noChangeAspect="1"/>
          </p:cNvPicPr>
          <p:nvPr/>
        </p:nvPicPr>
        <p:blipFill>
          <a:blip r:embed="rId14"/>
          <a:stretch>
            <a:fillRect/>
          </a:stretch>
        </p:blipFill>
        <p:spPr>
          <a:xfrm>
            <a:off x="7388246" y="4579843"/>
            <a:ext cx="335554" cy="295488"/>
          </a:xfrm>
          <a:prstGeom prst="rect">
            <a:avLst/>
          </a:prstGeom>
          <a:ln>
            <a:noFill/>
          </a:ln>
          <a:effectLst>
            <a:outerShdw blurRad="190500" algn="tl" rotWithShape="0">
              <a:srgbClr val="000000">
                <a:alpha val="70000"/>
              </a:srgbClr>
            </a:outerShdw>
          </a:effectLst>
        </p:spPr>
      </p:pic>
      <p:sp>
        <p:nvSpPr>
          <p:cNvPr id="120" name="Robot_E99A">
            <a:extLst>
              <a:ext uri="{FF2B5EF4-FFF2-40B4-BE49-F238E27FC236}">
                <a16:creationId xmlns:a16="http://schemas.microsoft.com/office/drawing/2014/main" id="{F033F7E9-1013-4127-92CA-03CED842D971}"/>
              </a:ext>
            </a:extLst>
          </p:cNvPr>
          <p:cNvSpPr>
            <a:spLocks noChangeAspect="1" noEditPoints="1"/>
          </p:cNvSpPr>
          <p:nvPr/>
        </p:nvSpPr>
        <p:spPr bwMode="auto">
          <a:xfrm>
            <a:off x="6860878" y="5222752"/>
            <a:ext cx="232543" cy="300492"/>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a:ea typeface="+mn-ea"/>
              <a:cs typeface="+mn-cs"/>
            </a:endParaRPr>
          </a:p>
        </p:txBody>
      </p:sp>
      <p:pic>
        <p:nvPicPr>
          <p:cNvPr id="14" name="Graphic 13" descr="Network">
            <a:extLst>
              <a:ext uri="{FF2B5EF4-FFF2-40B4-BE49-F238E27FC236}">
                <a16:creationId xmlns:a16="http://schemas.microsoft.com/office/drawing/2014/main" id="{7DBC1FC8-99D8-4C11-B87D-58A438499CB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941317" y="5158095"/>
            <a:ext cx="427418" cy="427418"/>
          </a:xfrm>
          <a:prstGeom prst="rect">
            <a:avLst/>
          </a:prstGeom>
        </p:spPr>
      </p:pic>
      <p:pic>
        <p:nvPicPr>
          <p:cNvPr id="124" name="Picture 123" descr="A picture containing clipart&#10;&#10;Description generated with high confidence">
            <a:extLst>
              <a:ext uri="{FF2B5EF4-FFF2-40B4-BE49-F238E27FC236}">
                <a16:creationId xmlns:a16="http://schemas.microsoft.com/office/drawing/2014/main" id="{89FC0BDA-1F1C-4BF7-B198-1366C06534A8}"/>
              </a:ext>
            </a:extLst>
          </p:cNvPr>
          <p:cNvPicPr>
            <a:picLocks noChangeAspect="1"/>
          </p:cNvPicPr>
          <p:nvPr/>
        </p:nvPicPr>
        <p:blipFill>
          <a:blip r:embed="rId17"/>
          <a:stretch>
            <a:fillRect/>
          </a:stretch>
        </p:blipFill>
        <p:spPr>
          <a:xfrm>
            <a:off x="10461556" y="6263191"/>
            <a:ext cx="1281431" cy="272805"/>
          </a:xfrm>
          <a:prstGeom prst="rect">
            <a:avLst/>
          </a:prstGeom>
        </p:spPr>
      </p:pic>
      <p:sp>
        <p:nvSpPr>
          <p:cNvPr id="127" name="Oval 126">
            <a:extLst>
              <a:ext uri="{FF2B5EF4-FFF2-40B4-BE49-F238E27FC236}">
                <a16:creationId xmlns:a16="http://schemas.microsoft.com/office/drawing/2014/main" id="{B67C6B1E-73A3-4E6A-A5D0-D1588A8BE977}"/>
              </a:ext>
            </a:extLst>
          </p:cNvPr>
          <p:cNvSpPr/>
          <p:nvPr/>
        </p:nvSpPr>
        <p:spPr bwMode="auto">
          <a:xfrm rot="2765178">
            <a:off x="8560666" y="3544304"/>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2" name="Picture 21">
            <a:extLst>
              <a:ext uri="{FF2B5EF4-FFF2-40B4-BE49-F238E27FC236}">
                <a16:creationId xmlns:a16="http://schemas.microsoft.com/office/drawing/2014/main" id="{344A332E-ACE9-4098-8F86-EE957DE0D117}"/>
              </a:ext>
            </a:extLst>
          </p:cNvPr>
          <p:cNvPicPr>
            <a:picLocks noChangeAspect="1"/>
          </p:cNvPicPr>
          <p:nvPr/>
        </p:nvPicPr>
        <p:blipFill>
          <a:blip r:embed="rId18"/>
          <a:stretch>
            <a:fillRect/>
          </a:stretch>
        </p:blipFill>
        <p:spPr>
          <a:xfrm>
            <a:off x="8666477" y="3655717"/>
            <a:ext cx="330925" cy="312727"/>
          </a:xfrm>
          <a:prstGeom prst="rect">
            <a:avLst/>
          </a:prstGeom>
        </p:spPr>
      </p:pic>
      <p:sp>
        <p:nvSpPr>
          <p:cNvPr id="139" name="TextBox 138">
            <a:extLst>
              <a:ext uri="{FF2B5EF4-FFF2-40B4-BE49-F238E27FC236}">
                <a16:creationId xmlns:a16="http://schemas.microsoft.com/office/drawing/2014/main" id="{321EEF7A-4987-43A2-9D9E-796F497FFD55}"/>
              </a:ext>
            </a:extLst>
          </p:cNvPr>
          <p:cNvSpPr txBox="1"/>
          <p:nvPr/>
        </p:nvSpPr>
        <p:spPr>
          <a:xfrm>
            <a:off x="8633457" y="4146263"/>
            <a:ext cx="520976" cy="142347"/>
          </a:xfrm>
          <a:prstGeom prst="rect">
            <a:avLst/>
          </a:prstGeom>
          <a:noFill/>
        </p:spPr>
        <p:txBody>
          <a:bodyPr wrap="none" lIns="0" tIns="0" rIns="0" bIns="0"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ispatch</a:t>
            </a:r>
          </a:p>
        </p:txBody>
      </p:sp>
      <p:cxnSp>
        <p:nvCxnSpPr>
          <p:cNvPr id="141" name="Straight Connector 140">
            <a:extLst>
              <a:ext uri="{FF2B5EF4-FFF2-40B4-BE49-F238E27FC236}">
                <a16:creationId xmlns:a16="http://schemas.microsoft.com/office/drawing/2014/main" id="{3C4C84C9-6CA2-4A8C-B96B-AC9D30CFB20A}"/>
              </a:ext>
            </a:extLst>
          </p:cNvPr>
          <p:cNvCxnSpPr>
            <a:cxnSpLocks/>
          </p:cNvCxnSpPr>
          <p:nvPr/>
        </p:nvCxnSpPr>
        <p:spPr>
          <a:xfrm flipV="1">
            <a:off x="7550269" y="3759064"/>
            <a:ext cx="1028080" cy="2920"/>
          </a:xfrm>
          <a:prstGeom prst="lin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pic>
        <p:nvPicPr>
          <p:cNvPr id="3074" name="Picture 2" descr="Image result for Microsoft teams transparent">
            <a:extLst>
              <a:ext uri="{FF2B5EF4-FFF2-40B4-BE49-F238E27FC236}">
                <a16:creationId xmlns:a16="http://schemas.microsoft.com/office/drawing/2014/main" id="{DA520E1B-09DA-4488-A73F-851551264A13}"/>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890389" y="2938978"/>
            <a:ext cx="541206" cy="5412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464626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FC99C9-2A35-4DDA-9513-03BA4D326565}"/>
              </a:ext>
            </a:extLst>
          </p:cNvPr>
          <p:cNvSpPr>
            <a:spLocks noGrp="1"/>
          </p:cNvSpPr>
          <p:nvPr>
            <p:ph type="title"/>
          </p:nvPr>
        </p:nvSpPr>
        <p:spPr/>
        <p:txBody>
          <a:bodyPr/>
          <a:lstStyle/>
          <a:p>
            <a:r>
              <a:rPr lang="en-US"/>
              <a:t>Auditing and compliance</a:t>
            </a:r>
          </a:p>
        </p:txBody>
      </p:sp>
      <p:sp>
        <p:nvSpPr>
          <p:cNvPr id="332" name="TextBox 331">
            <a:extLst>
              <a:ext uri="{FF2B5EF4-FFF2-40B4-BE49-F238E27FC236}">
                <a16:creationId xmlns:a16="http://schemas.microsoft.com/office/drawing/2014/main" id="{18977740-B395-4835-9ADD-76E732CB230F}"/>
              </a:ext>
            </a:extLst>
          </p:cNvPr>
          <p:cNvSpPr txBox="1"/>
          <p:nvPr/>
        </p:nvSpPr>
        <p:spPr>
          <a:xfrm>
            <a:off x="3090706" y="3349192"/>
            <a:ext cx="1748814" cy="276999"/>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200" b="0" i="0" u="none" strike="noStrike" kern="0" cap="none" spc="0" normalizeH="0" baseline="0">
                <a:ln>
                  <a:noFill/>
                </a:ln>
                <a:solidFill>
                  <a:prstClr val="white"/>
                </a:solidFill>
                <a:effectLst/>
                <a:uLnTx/>
                <a:uFillTx/>
                <a:latin typeface="Segoe UI Semibold"/>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Semibold"/>
                <a:ea typeface="+mn-ea"/>
                <a:cs typeface="Segoe UI Semibold" panose="020B0702040204020203" pitchFamily="34" charset="0"/>
              </a:rPr>
              <a:t>Key phrase extraction</a:t>
            </a:r>
          </a:p>
        </p:txBody>
      </p:sp>
      <p:sp>
        <p:nvSpPr>
          <p:cNvPr id="333" name="TextBox 332">
            <a:extLst>
              <a:ext uri="{FF2B5EF4-FFF2-40B4-BE49-F238E27FC236}">
                <a16:creationId xmlns:a16="http://schemas.microsoft.com/office/drawing/2014/main" id="{6D93A58D-24C2-4DED-8E75-20C0E13A537B}"/>
              </a:ext>
            </a:extLst>
          </p:cNvPr>
          <p:cNvSpPr txBox="1"/>
          <p:nvPr/>
        </p:nvSpPr>
        <p:spPr>
          <a:xfrm>
            <a:off x="2447862" y="4499832"/>
            <a:ext cx="904520" cy="461665"/>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200" b="0" i="0" u="none" strike="noStrike" kern="0" cap="none" spc="0" normalizeH="0" baseline="0">
                <a:ln>
                  <a:noFill/>
                </a:ln>
                <a:solidFill>
                  <a:prstClr val="white"/>
                </a:solidFill>
                <a:effectLst/>
                <a:uLnTx/>
                <a:uFillTx/>
                <a:latin typeface="Segoe UI Semibold"/>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Semibold"/>
                <a:ea typeface="+mn-ea"/>
                <a:cs typeface="Segoe UI Semibold" panose="020B0702040204020203" pitchFamily="34" charset="0"/>
              </a:rPr>
              <a:t>Language detection</a:t>
            </a:r>
          </a:p>
        </p:txBody>
      </p:sp>
      <p:sp>
        <p:nvSpPr>
          <p:cNvPr id="334" name="TextBox 333">
            <a:extLst>
              <a:ext uri="{FF2B5EF4-FFF2-40B4-BE49-F238E27FC236}">
                <a16:creationId xmlns:a16="http://schemas.microsoft.com/office/drawing/2014/main" id="{311B7BAF-5B4B-4809-ACB4-32CC60C143FE}"/>
              </a:ext>
            </a:extLst>
          </p:cNvPr>
          <p:cNvSpPr txBox="1"/>
          <p:nvPr/>
        </p:nvSpPr>
        <p:spPr>
          <a:xfrm>
            <a:off x="4652619" y="4499832"/>
            <a:ext cx="998260" cy="461665"/>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200" b="0" i="0" u="none" strike="noStrike" kern="0" cap="none" spc="0" normalizeH="0" baseline="0">
                <a:ln>
                  <a:noFill/>
                </a:ln>
                <a:solidFill>
                  <a:prstClr val="white"/>
                </a:solidFill>
                <a:effectLst/>
                <a:uLnTx/>
                <a:uFillTx/>
                <a:latin typeface="Segoe UI Semibold"/>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Semibold"/>
                <a:ea typeface="+mn-ea"/>
                <a:cs typeface="Segoe UI Semibold" panose="020B0702040204020203" pitchFamily="34" charset="0"/>
              </a:rPr>
              <a:t>Automatic translation</a:t>
            </a:r>
          </a:p>
        </p:txBody>
      </p:sp>
      <p:sp>
        <p:nvSpPr>
          <p:cNvPr id="335" name="TextBox 334">
            <a:extLst>
              <a:ext uri="{FF2B5EF4-FFF2-40B4-BE49-F238E27FC236}">
                <a16:creationId xmlns:a16="http://schemas.microsoft.com/office/drawing/2014/main" id="{FDD60AB2-9A84-4D93-A6F0-0DAA203B7F00}"/>
              </a:ext>
            </a:extLst>
          </p:cNvPr>
          <p:cNvSpPr txBox="1"/>
          <p:nvPr/>
        </p:nvSpPr>
        <p:spPr>
          <a:xfrm>
            <a:off x="3394939" y="4499832"/>
            <a:ext cx="1292988" cy="461665"/>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200" b="0" i="0" u="none" strike="noStrike" kern="0" cap="none" spc="0" normalizeH="0" baseline="0">
                <a:ln>
                  <a:noFill/>
                </a:ln>
                <a:solidFill>
                  <a:prstClr val="white"/>
                </a:solidFill>
                <a:effectLst/>
                <a:uLnTx/>
                <a:uFillTx/>
                <a:latin typeface="Segoe UI Semibold"/>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Semibold"/>
                <a:ea typeface="+mn-ea"/>
                <a:cs typeface="Segoe UI Semibold" panose="020B0702040204020203" pitchFamily="34" charset="0"/>
              </a:rPr>
              <a:t>Named entity extraction</a:t>
            </a:r>
          </a:p>
        </p:txBody>
      </p:sp>
      <p:sp>
        <p:nvSpPr>
          <p:cNvPr id="337" name="TextBox 336">
            <a:extLst>
              <a:ext uri="{FF2B5EF4-FFF2-40B4-BE49-F238E27FC236}">
                <a16:creationId xmlns:a16="http://schemas.microsoft.com/office/drawing/2014/main" id="{0109B8EC-5449-4683-A8F1-4A2FAE880417}"/>
              </a:ext>
            </a:extLst>
          </p:cNvPr>
          <p:cNvSpPr txBox="1"/>
          <p:nvPr/>
        </p:nvSpPr>
        <p:spPr>
          <a:xfrm>
            <a:off x="5818301" y="3304760"/>
            <a:ext cx="957284" cy="461665"/>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200" b="0" i="0" u="none" strike="noStrike" kern="0" cap="none" spc="0" normalizeH="0" baseline="0">
                <a:ln>
                  <a:noFill/>
                </a:ln>
                <a:solidFill>
                  <a:prstClr val="white"/>
                </a:solidFill>
                <a:effectLst/>
                <a:uLnTx/>
                <a:uFillTx/>
                <a:latin typeface="Segoe UI Semibold"/>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Semibold"/>
                <a:ea typeface="+mn-ea"/>
                <a:cs typeface="Segoe UI Semibold" panose="020B0702040204020203" pitchFamily="34" charset="0"/>
              </a:rPr>
              <a:t>Clause extraction</a:t>
            </a:r>
          </a:p>
        </p:txBody>
      </p:sp>
      <p:sp>
        <p:nvSpPr>
          <p:cNvPr id="338" name="TextBox 337">
            <a:extLst>
              <a:ext uri="{FF2B5EF4-FFF2-40B4-BE49-F238E27FC236}">
                <a16:creationId xmlns:a16="http://schemas.microsoft.com/office/drawing/2014/main" id="{A448BDB1-81EC-4946-AD36-0A03FF49D21E}"/>
              </a:ext>
            </a:extLst>
          </p:cNvPr>
          <p:cNvSpPr txBox="1"/>
          <p:nvPr/>
        </p:nvSpPr>
        <p:spPr>
          <a:xfrm>
            <a:off x="6896769" y="3304760"/>
            <a:ext cx="876998" cy="461665"/>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200" b="0" i="0" u="none" strike="noStrike" kern="0" cap="none" spc="0" normalizeH="0" baseline="0">
                <a:ln>
                  <a:noFill/>
                </a:ln>
                <a:solidFill>
                  <a:prstClr val="white"/>
                </a:solidFill>
                <a:effectLst/>
                <a:uLnTx/>
                <a:uFillTx/>
                <a:latin typeface="Segoe UI Semibold"/>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Semibold"/>
                <a:ea typeface="+mn-ea"/>
                <a:cs typeface="Segoe UI Semibold" panose="020B0702040204020203" pitchFamily="34" charset="0"/>
              </a:rPr>
              <a:t>Risk identifier</a:t>
            </a:r>
          </a:p>
        </p:txBody>
      </p:sp>
      <p:sp>
        <p:nvSpPr>
          <p:cNvPr id="341" name="Rectangle 340">
            <a:extLst>
              <a:ext uri="{FF2B5EF4-FFF2-40B4-BE49-F238E27FC236}">
                <a16:creationId xmlns:a16="http://schemas.microsoft.com/office/drawing/2014/main" id="{DFE67EED-347E-4014-A080-E451610FA434}"/>
              </a:ext>
            </a:extLst>
          </p:cNvPr>
          <p:cNvSpPr/>
          <p:nvPr/>
        </p:nvSpPr>
        <p:spPr>
          <a:xfrm>
            <a:off x="10151016" y="5424336"/>
            <a:ext cx="1675498" cy="338554"/>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Semibold"/>
                <a:ea typeface="+mn-ea"/>
                <a:cs typeface="Segoe UI Semibold" panose="020B0702040204020203" pitchFamily="34" charset="0"/>
              </a:rPr>
              <a:t>Azure Web App</a:t>
            </a:r>
          </a:p>
        </p:txBody>
      </p:sp>
      <p:sp>
        <p:nvSpPr>
          <p:cNvPr id="352" name="Rectangle 351">
            <a:extLst>
              <a:ext uri="{FF2B5EF4-FFF2-40B4-BE49-F238E27FC236}">
                <a16:creationId xmlns:a16="http://schemas.microsoft.com/office/drawing/2014/main" id="{8FBE2C43-C816-4C3D-9985-4246827C3C5C}"/>
              </a:ext>
            </a:extLst>
          </p:cNvPr>
          <p:cNvSpPr/>
          <p:nvPr/>
        </p:nvSpPr>
        <p:spPr>
          <a:xfrm>
            <a:off x="5141850" y="1478970"/>
            <a:ext cx="1475072" cy="276999"/>
          </a:xfrm>
          <a:prstGeom prst="rect">
            <a:avLst/>
          </a:prstGeom>
        </p:spPr>
        <p:txBody>
          <a:bodyPr vert="horz" wrap="square" lIns="0" tIns="0" rIns="0" bIns="0" rtlCol="0" anchor="t">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a:noFill/>
                </a:ln>
                <a:solidFill>
                  <a:srgbClr val="0078D4">
                    <a:lumMod val="60000"/>
                    <a:lumOff val="40000"/>
                  </a:srgbClr>
                </a:solidFill>
                <a:effectLst/>
                <a:uLnTx/>
                <a:uFillTx/>
                <a:latin typeface="Segoe UI Semibold"/>
                <a:ea typeface="+mn-ea"/>
                <a:cs typeface="+mn-cs"/>
              </a:rPr>
              <a:t>Enrich</a:t>
            </a:r>
          </a:p>
        </p:txBody>
      </p:sp>
      <p:sp>
        <p:nvSpPr>
          <p:cNvPr id="354" name="Rectangle 353">
            <a:extLst>
              <a:ext uri="{FF2B5EF4-FFF2-40B4-BE49-F238E27FC236}">
                <a16:creationId xmlns:a16="http://schemas.microsoft.com/office/drawing/2014/main" id="{82EB973B-B0D3-45D3-955B-F1A756C22C5B}"/>
              </a:ext>
            </a:extLst>
          </p:cNvPr>
          <p:cNvSpPr/>
          <p:nvPr/>
        </p:nvSpPr>
        <p:spPr>
          <a:xfrm>
            <a:off x="10251229" y="1478970"/>
            <a:ext cx="1475072" cy="276999"/>
          </a:xfrm>
          <a:prstGeom prst="rect">
            <a:avLst/>
          </a:prstGeom>
        </p:spPr>
        <p:txBody>
          <a:bodyPr vert="horz" wrap="square" lIns="0" tIns="0" rIns="0" bIns="0" rtlCol="0" anchor="t">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a:noFill/>
                </a:ln>
                <a:solidFill>
                  <a:srgbClr val="0078D4">
                    <a:lumMod val="60000"/>
                    <a:lumOff val="40000"/>
                  </a:srgbClr>
                </a:solidFill>
                <a:effectLst/>
                <a:uLnTx/>
                <a:uFillTx/>
                <a:latin typeface="Segoe UI Semibold"/>
                <a:ea typeface="+mn-ea"/>
                <a:cs typeface="+mn-cs"/>
              </a:rPr>
              <a:t>Explore</a:t>
            </a:r>
          </a:p>
        </p:txBody>
      </p:sp>
      <p:sp>
        <p:nvSpPr>
          <p:cNvPr id="355" name="Rectangle 354">
            <a:extLst>
              <a:ext uri="{FF2B5EF4-FFF2-40B4-BE49-F238E27FC236}">
                <a16:creationId xmlns:a16="http://schemas.microsoft.com/office/drawing/2014/main" id="{539DEE81-5F34-486B-9BB8-8B6E4CB12B49}"/>
              </a:ext>
            </a:extLst>
          </p:cNvPr>
          <p:cNvSpPr/>
          <p:nvPr/>
        </p:nvSpPr>
        <p:spPr>
          <a:xfrm>
            <a:off x="3229903" y="2076762"/>
            <a:ext cx="1475072" cy="307777"/>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Segoe UI Semibold"/>
                <a:ea typeface="+mn-ea"/>
                <a:cs typeface="+mn-cs"/>
              </a:rPr>
              <a:t>Cognitive skills</a:t>
            </a:r>
          </a:p>
        </p:txBody>
      </p:sp>
      <p:sp>
        <p:nvSpPr>
          <p:cNvPr id="356" name="TextBox 355">
            <a:extLst>
              <a:ext uri="{FF2B5EF4-FFF2-40B4-BE49-F238E27FC236}">
                <a16:creationId xmlns:a16="http://schemas.microsoft.com/office/drawing/2014/main" id="{C12F0579-7D63-47C8-8C2C-968192727374}"/>
              </a:ext>
            </a:extLst>
          </p:cNvPr>
          <p:cNvSpPr txBox="1"/>
          <p:nvPr/>
        </p:nvSpPr>
        <p:spPr>
          <a:xfrm>
            <a:off x="6164353" y="2076761"/>
            <a:ext cx="1464831" cy="307777"/>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400" b="1" i="0" u="none" strike="noStrike" cap="none" spc="0" normalizeH="0" baseline="0">
                <a:ln>
                  <a:noFill/>
                </a:ln>
                <a:effectLst/>
                <a:uLnTx/>
                <a:uFillTx/>
                <a:latin typeface="Segoe UI Semibold"/>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Segoe UI Semibold"/>
                <a:ea typeface="+mn-ea"/>
                <a:cs typeface="+mn-cs"/>
              </a:rPr>
              <a:t>Custom skills</a:t>
            </a:r>
          </a:p>
        </p:txBody>
      </p:sp>
      <p:grpSp>
        <p:nvGrpSpPr>
          <p:cNvPr id="363" name="Group 362">
            <a:extLst>
              <a:ext uri="{FF2B5EF4-FFF2-40B4-BE49-F238E27FC236}">
                <a16:creationId xmlns:a16="http://schemas.microsoft.com/office/drawing/2014/main" id="{34011251-2689-4739-BD57-EC673AA1572E}"/>
              </a:ext>
            </a:extLst>
          </p:cNvPr>
          <p:cNvGrpSpPr/>
          <p:nvPr/>
        </p:nvGrpSpPr>
        <p:grpSpPr>
          <a:xfrm>
            <a:off x="2714913" y="4179393"/>
            <a:ext cx="370417" cy="217531"/>
            <a:chOff x="5060283" y="3583077"/>
            <a:chExt cx="370417" cy="217531"/>
          </a:xfrm>
        </p:grpSpPr>
        <p:sp>
          <p:nvSpPr>
            <p:cNvPr id="364" name="Graphic 569">
              <a:extLst>
                <a:ext uri="{FF2B5EF4-FFF2-40B4-BE49-F238E27FC236}">
                  <a16:creationId xmlns:a16="http://schemas.microsoft.com/office/drawing/2014/main" id="{1BFCA389-2798-4343-8DB1-50753518F369}"/>
                </a:ext>
              </a:extLst>
            </p:cNvPr>
            <p:cNvSpPr/>
            <p:nvPr/>
          </p:nvSpPr>
          <p:spPr>
            <a:xfrm>
              <a:off x="5256593" y="3583077"/>
              <a:ext cx="174107" cy="217531"/>
            </a:xfrm>
            <a:custGeom>
              <a:avLst/>
              <a:gdLst>
                <a:gd name="connsiteX0" fmla="*/ 6867 w 371847"/>
                <a:gd name="connsiteY0" fmla="*/ 210452 h 330013"/>
                <a:gd name="connsiteX1" fmla="*/ 86814 w 371847"/>
                <a:gd name="connsiteY1" fmla="*/ 6866 h 330013"/>
                <a:gd name="connsiteX2" fmla="*/ 158859 w 371847"/>
                <a:gd name="connsiteY2" fmla="*/ 210452 h 330013"/>
                <a:gd name="connsiteX3" fmla="*/ 32896 w 371847"/>
                <a:gd name="connsiteY3" fmla="*/ 143985 h 330013"/>
                <a:gd name="connsiteX4" fmla="*/ 135154 w 371847"/>
                <a:gd name="connsiteY4" fmla="*/ 143985 h 330013"/>
                <a:gd name="connsiteX5" fmla="*/ 293654 w 371847"/>
                <a:gd name="connsiteY5" fmla="*/ 327584 h 330013"/>
                <a:gd name="connsiteX6" fmla="*/ 368489 w 371847"/>
                <a:gd name="connsiteY6" fmla="*/ 258328 h 330013"/>
                <a:gd name="connsiteX7" fmla="*/ 232299 w 371847"/>
                <a:gd name="connsiteY7" fmla="*/ 231834 h 330013"/>
                <a:gd name="connsiteX8" fmla="*/ 243920 w 371847"/>
                <a:gd name="connsiteY8" fmla="*/ 306203 h 330013"/>
                <a:gd name="connsiteX9" fmla="*/ 322472 w 371847"/>
                <a:gd name="connsiteY9" fmla="*/ 194184 h 330013"/>
                <a:gd name="connsiteX10" fmla="*/ 260188 w 371847"/>
                <a:gd name="connsiteY10" fmla="*/ 110054 h 330013"/>
                <a:gd name="connsiteX11" fmla="*/ 270879 w 371847"/>
                <a:gd name="connsiteY11" fmla="*/ 295977 h 330013"/>
                <a:gd name="connsiteX12" fmla="*/ 194650 w 371847"/>
                <a:gd name="connsiteY12" fmla="*/ 156070 h 330013"/>
                <a:gd name="connsiteX13" fmla="*/ 357333 w 371847"/>
                <a:gd name="connsiteY13" fmla="*/ 148633 h 330013"/>
                <a:gd name="connsiteX0" fmla="*/ 0 w 361890"/>
                <a:gd name="connsiteY0" fmla="*/ 203586 h 320718"/>
                <a:gd name="connsiteX1" fmla="*/ 79947 w 361890"/>
                <a:gd name="connsiteY1" fmla="*/ 0 h 320718"/>
                <a:gd name="connsiteX2" fmla="*/ 26029 w 361890"/>
                <a:gd name="connsiteY2" fmla="*/ 137119 h 320718"/>
                <a:gd name="connsiteX3" fmla="*/ 128287 w 361890"/>
                <a:gd name="connsiteY3" fmla="*/ 137119 h 320718"/>
                <a:gd name="connsiteX4" fmla="*/ 286787 w 361890"/>
                <a:gd name="connsiteY4" fmla="*/ 320718 h 320718"/>
                <a:gd name="connsiteX5" fmla="*/ 361622 w 361890"/>
                <a:gd name="connsiteY5" fmla="*/ 251462 h 320718"/>
                <a:gd name="connsiteX6" fmla="*/ 225432 w 361890"/>
                <a:gd name="connsiteY6" fmla="*/ 224968 h 320718"/>
                <a:gd name="connsiteX7" fmla="*/ 237053 w 361890"/>
                <a:gd name="connsiteY7" fmla="*/ 299337 h 320718"/>
                <a:gd name="connsiteX8" fmla="*/ 315605 w 361890"/>
                <a:gd name="connsiteY8" fmla="*/ 187318 h 320718"/>
                <a:gd name="connsiteX9" fmla="*/ 253321 w 361890"/>
                <a:gd name="connsiteY9" fmla="*/ 103188 h 320718"/>
                <a:gd name="connsiteX10" fmla="*/ 264012 w 361890"/>
                <a:gd name="connsiteY10" fmla="*/ 289111 h 320718"/>
                <a:gd name="connsiteX11" fmla="*/ 187783 w 361890"/>
                <a:gd name="connsiteY11" fmla="*/ 149204 h 320718"/>
                <a:gd name="connsiteX12" fmla="*/ 350466 w 361890"/>
                <a:gd name="connsiteY12" fmla="*/ 141767 h 320718"/>
                <a:gd name="connsiteX0" fmla="*/ 0 w 361890"/>
                <a:gd name="connsiteY0" fmla="*/ 203586 h 320718"/>
                <a:gd name="connsiteX1" fmla="*/ 79947 w 361890"/>
                <a:gd name="connsiteY1" fmla="*/ 0 h 320718"/>
                <a:gd name="connsiteX2" fmla="*/ 286787 w 361890"/>
                <a:gd name="connsiteY2" fmla="*/ 320718 h 320718"/>
                <a:gd name="connsiteX3" fmla="*/ 361622 w 361890"/>
                <a:gd name="connsiteY3" fmla="*/ 251462 h 320718"/>
                <a:gd name="connsiteX4" fmla="*/ 225432 w 361890"/>
                <a:gd name="connsiteY4" fmla="*/ 224968 h 320718"/>
                <a:gd name="connsiteX5" fmla="*/ 237053 w 361890"/>
                <a:gd name="connsiteY5" fmla="*/ 299337 h 320718"/>
                <a:gd name="connsiteX6" fmla="*/ 315605 w 361890"/>
                <a:gd name="connsiteY6" fmla="*/ 187318 h 320718"/>
                <a:gd name="connsiteX7" fmla="*/ 253321 w 361890"/>
                <a:gd name="connsiteY7" fmla="*/ 103188 h 320718"/>
                <a:gd name="connsiteX8" fmla="*/ 264012 w 361890"/>
                <a:gd name="connsiteY8" fmla="*/ 289111 h 320718"/>
                <a:gd name="connsiteX9" fmla="*/ 187783 w 361890"/>
                <a:gd name="connsiteY9" fmla="*/ 149204 h 320718"/>
                <a:gd name="connsiteX10" fmla="*/ 350466 w 361890"/>
                <a:gd name="connsiteY10" fmla="*/ 141767 h 320718"/>
                <a:gd name="connsiteX0" fmla="*/ 99004 w 174107"/>
                <a:gd name="connsiteY0" fmla="*/ 217530 h 217530"/>
                <a:gd name="connsiteX1" fmla="*/ 173839 w 174107"/>
                <a:gd name="connsiteY1" fmla="*/ 148274 h 217530"/>
                <a:gd name="connsiteX2" fmla="*/ 37649 w 174107"/>
                <a:gd name="connsiteY2" fmla="*/ 121780 h 217530"/>
                <a:gd name="connsiteX3" fmla="*/ 49270 w 174107"/>
                <a:gd name="connsiteY3" fmla="*/ 196149 h 217530"/>
                <a:gd name="connsiteX4" fmla="*/ 127822 w 174107"/>
                <a:gd name="connsiteY4" fmla="*/ 84130 h 217530"/>
                <a:gd name="connsiteX5" fmla="*/ 65538 w 174107"/>
                <a:gd name="connsiteY5" fmla="*/ 0 h 217530"/>
                <a:gd name="connsiteX6" fmla="*/ 76229 w 174107"/>
                <a:gd name="connsiteY6" fmla="*/ 185923 h 217530"/>
                <a:gd name="connsiteX7" fmla="*/ 0 w 174107"/>
                <a:gd name="connsiteY7" fmla="*/ 46016 h 217530"/>
                <a:gd name="connsiteX8" fmla="*/ 162683 w 174107"/>
                <a:gd name="connsiteY8" fmla="*/ 38579 h 21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107" h="217530">
                  <a:moveTo>
                    <a:pt x="99004" y="217530"/>
                  </a:moveTo>
                  <a:cubicBezTo>
                    <a:pt x="132471" y="215671"/>
                    <a:pt x="178022" y="195684"/>
                    <a:pt x="173839" y="148274"/>
                  </a:cubicBezTo>
                  <a:cubicBezTo>
                    <a:pt x="170585" y="109230"/>
                    <a:pt x="87849" y="99004"/>
                    <a:pt x="37649" y="121780"/>
                  </a:cubicBezTo>
                  <a:cubicBezTo>
                    <a:pt x="-9761" y="143161"/>
                    <a:pt x="-13480" y="209628"/>
                    <a:pt x="49270" y="196149"/>
                  </a:cubicBezTo>
                  <a:cubicBezTo>
                    <a:pt x="127358" y="179416"/>
                    <a:pt x="127822" y="84130"/>
                    <a:pt x="127822" y="84130"/>
                  </a:cubicBezTo>
                  <a:moveTo>
                    <a:pt x="65538" y="0"/>
                  </a:moveTo>
                  <a:cubicBezTo>
                    <a:pt x="65538" y="0"/>
                    <a:pt x="51594" y="145950"/>
                    <a:pt x="76229" y="185923"/>
                  </a:cubicBezTo>
                  <a:moveTo>
                    <a:pt x="0" y="46016"/>
                  </a:moveTo>
                  <a:cubicBezTo>
                    <a:pt x="0" y="46016"/>
                    <a:pt x="86454" y="56706"/>
                    <a:pt x="162683" y="38579"/>
                  </a:cubicBezTo>
                </a:path>
              </a:pathLst>
            </a:custGeom>
            <a:noFill/>
            <a:ln w="18761"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65" name="Graphic 569">
              <a:extLst>
                <a:ext uri="{FF2B5EF4-FFF2-40B4-BE49-F238E27FC236}">
                  <a16:creationId xmlns:a16="http://schemas.microsoft.com/office/drawing/2014/main" id="{DF6762A9-F585-48A5-8590-CAFE7817C65F}"/>
                </a:ext>
              </a:extLst>
            </p:cNvPr>
            <p:cNvSpPr/>
            <p:nvPr/>
          </p:nvSpPr>
          <p:spPr>
            <a:xfrm>
              <a:off x="5060283" y="3595983"/>
              <a:ext cx="151992" cy="203587"/>
            </a:xfrm>
            <a:custGeom>
              <a:avLst/>
              <a:gdLst>
                <a:gd name="connsiteX0" fmla="*/ 6867 w 371847"/>
                <a:gd name="connsiteY0" fmla="*/ 210452 h 330013"/>
                <a:gd name="connsiteX1" fmla="*/ 86814 w 371847"/>
                <a:gd name="connsiteY1" fmla="*/ 6866 h 330013"/>
                <a:gd name="connsiteX2" fmla="*/ 158859 w 371847"/>
                <a:gd name="connsiteY2" fmla="*/ 210452 h 330013"/>
                <a:gd name="connsiteX3" fmla="*/ 32896 w 371847"/>
                <a:gd name="connsiteY3" fmla="*/ 143985 h 330013"/>
                <a:gd name="connsiteX4" fmla="*/ 135154 w 371847"/>
                <a:gd name="connsiteY4" fmla="*/ 143985 h 330013"/>
                <a:gd name="connsiteX5" fmla="*/ 293654 w 371847"/>
                <a:gd name="connsiteY5" fmla="*/ 327584 h 330013"/>
                <a:gd name="connsiteX6" fmla="*/ 368489 w 371847"/>
                <a:gd name="connsiteY6" fmla="*/ 258328 h 330013"/>
                <a:gd name="connsiteX7" fmla="*/ 232299 w 371847"/>
                <a:gd name="connsiteY7" fmla="*/ 231834 h 330013"/>
                <a:gd name="connsiteX8" fmla="*/ 243920 w 371847"/>
                <a:gd name="connsiteY8" fmla="*/ 306203 h 330013"/>
                <a:gd name="connsiteX9" fmla="*/ 322472 w 371847"/>
                <a:gd name="connsiteY9" fmla="*/ 194184 h 330013"/>
                <a:gd name="connsiteX10" fmla="*/ 260188 w 371847"/>
                <a:gd name="connsiteY10" fmla="*/ 110054 h 330013"/>
                <a:gd name="connsiteX11" fmla="*/ 270879 w 371847"/>
                <a:gd name="connsiteY11" fmla="*/ 295977 h 330013"/>
                <a:gd name="connsiteX12" fmla="*/ 194650 w 371847"/>
                <a:gd name="connsiteY12" fmla="*/ 156070 h 330013"/>
                <a:gd name="connsiteX13" fmla="*/ 357333 w 371847"/>
                <a:gd name="connsiteY13" fmla="*/ 148633 h 330013"/>
                <a:gd name="connsiteX0" fmla="*/ 0 w 361890"/>
                <a:gd name="connsiteY0" fmla="*/ 203586 h 320718"/>
                <a:gd name="connsiteX1" fmla="*/ 79947 w 361890"/>
                <a:gd name="connsiteY1" fmla="*/ 0 h 320718"/>
                <a:gd name="connsiteX2" fmla="*/ 151992 w 361890"/>
                <a:gd name="connsiteY2" fmla="*/ 203586 h 320718"/>
                <a:gd name="connsiteX3" fmla="*/ 26029 w 361890"/>
                <a:gd name="connsiteY3" fmla="*/ 137119 h 320718"/>
                <a:gd name="connsiteX4" fmla="*/ 128287 w 361890"/>
                <a:gd name="connsiteY4" fmla="*/ 137119 h 320718"/>
                <a:gd name="connsiteX5" fmla="*/ 286787 w 361890"/>
                <a:gd name="connsiteY5" fmla="*/ 320718 h 320718"/>
                <a:gd name="connsiteX6" fmla="*/ 361622 w 361890"/>
                <a:gd name="connsiteY6" fmla="*/ 251462 h 320718"/>
                <a:gd name="connsiteX7" fmla="*/ 225432 w 361890"/>
                <a:gd name="connsiteY7" fmla="*/ 224968 h 320718"/>
                <a:gd name="connsiteX8" fmla="*/ 237053 w 361890"/>
                <a:gd name="connsiteY8" fmla="*/ 299337 h 320718"/>
                <a:gd name="connsiteX9" fmla="*/ 315605 w 361890"/>
                <a:gd name="connsiteY9" fmla="*/ 187318 h 320718"/>
                <a:gd name="connsiteX10" fmla="*/ 187783 w 361890"/>
                <a:gd name="connsiteY10" fmla="*/ 149204 h 320718"/>
                <a:gd name="connsiteX11" fmla="*/ 350466 w 361890"/>
                <a:gd name="connsiteY11" fmla="*/ 141767 h 320718"/>
                <a:gd name="connsiteX0" fmla="*/ 0 w 361890"/>
                <a:gd name="connsiteY0" fmla="*/ 203586 h 320718"/>
                <a:gd name="connsiteX1" fmla="*/ 79947 w 361890"/>
                <a:gd name="connsiteY1" fmla="*/ 0 h 320718"/>
                <a:gd name="connsiteX2" fmla="*/ 151992 w 361890"/>
                <a:gd name="connsiteY2" fmla="*/ 203586 h 320718"/>
                <a:gd name="connsiteX3" fmla="*/ 26029 w 361890"/>
                <a:gd name="connsiteY3" fmla="*/ 137119 h 320718"/>
                <a:gd name="connsiteX4" fmla="*/ 128287 w 361890"/>
                <a:gd name="connsiteY4" fmla="*/ 137119 h 320718"/>
                <a:gd name="connsiteX5" fmla="*/ 286787 w 361890"/>
                <a:gd name="connsiteY5" fmla="*/ 320718 h 320718"/>
                <a:gd name="connsiteX6" fmla="*/ 361622 w 361890"/>
                <a:gd name="connsiteY6" fmla="*/ 251462 h 320718"/>
                <a:gd name="connsiteX7" fmla="*/ 225432 w 361890"/>
                <a:gd name="connsiteY7" fmla="*/ 224968 h 320718"/>
                <a:gd name="connsiteX8" fmla="*/ 237053 w 361890"/>
                <a:gd name="connsiteY8" fmla="*/ 299337 h 320718"/>
                <a:gd name="connsiteX9" fmla="*/ 315605 w 361890"/>
                <a:gd name="connsiteY9" fmla="*/ 187318 h 320718"/>
                <a:gd name="connsiteX0" fmla="*/ 0 w 361890"/>
                <a:gd name="connsiteY0" fmla="*/ 203586 h 320718"/>
                <a:gd name="connsiteX1" fmla="*/ 79947 w 361890"/>
                <a:gd name="connsiteY1" fmla="*/ 0 h 320718"/>
                <a:gd name="connsiteX2" fmla="*/ 151992 w 361890"/>
                <a:gd name="connsiteY2" fmla="*/ 203586 h 320718"/>
                <a:gd name="connsiteX3" fmla="*/ 26029 w 361890"/>
                <a:gd name="connsiteY3" fmla="*/ 137119 h 320718"/>
                <a:gd name="connsiteX4" fmla="*/ 128287 w 361890"/>
                <a:gd name="connsiteY4" fmla="*/ 137119 h 320718"/>
                <a:gd name="connsiteX5" fmla="*/ 286787 w 361890"/>
                <a:gd name="connsiteY5" fmla="*/ 320718 h 320718"/>
                <a:gd name="connsiteX6" fmla="*/ 361622 w 361890"/>
                <a:gd name="connsiteY6" fmla="*/ 251462 h 320718"/>
                <a:gd name="connsiteX7" fmla="*/ 237053 w 361890"/>
                <a:gd name="connsiteY7" fmla="*/ 299337 h 320718"/>
                <a:gd name="connsiteX8" fmla="*/ 315605 w 361890"/>
                <a:gd name="connsiteY8" fmla="*/ 187318 h 320718"/>
                <a:gd name="connsiteX0" fmla="*/ 0 w 362009"/>
                <a:gd name="connsiteY0" fmla="*/ 203586 h 320718"/>
                <a:gd name="connsiteX1" fmla="*/ 79947 w 362009"/>
                <a:gd name="connsiteY1" fmla="*/ 0 h 320718"/>
                <a:gd name="connsiteX2" fmla="*/ 151992 w 362009"/>
                <a:gd name="connsiteY2" fmla="*/ 203586 h 320718"/>
                <a:gd name="connsiteX3" fmla="*/ 26029 w 362009"/>
                <a:gd name="connsiteY3" fmla="*/ 137119 h 320718"/>
                <a:gd name="connsiteX4" fmla="*/ 128287 w 362009"/>
                <a:gd name="connsiteY4" fmla="*/ 137119 h 320718"/>
                <a:gd name="connsiteX5" fmla="*/ 286787 w 362009"/>
                <a:gd name="connsiteY5" fmla="*/ 320718 h 320718"/>
                <a:gd name="connsiteX6" fmla="*/ 361622 w 362009"/>
                <a:gd name="connsiteY6" fmla="*/ 251462 h 320718"/>
                <a:gd name="connsiteX7" fmla="*/ 315605 w 362009"/>
                <a:gd name="connsiteY7" fmla="*/ 187318 h 320718"/>
                <a:gd name="connsiteX0" fmla="*/ 0 w 361890"/>
                <a:gd name="connsiteY0" fmla="*/ 203586 h 320718"/>
                <a:gd name="connsiteX1" fmla="*/ 79947 w 361890"/>
                <a:gd name="connsiteY1" fmla="*/ 0 h 320718"/>
                <a:gd name="connsiteX2" fmla="*/ 151992 w 361890"/>
                <a:gd name="connsiteY2" fmla="*/ 203586 h 320718"/>
                <a:gd name="connsiteX3" fmla="*/ 26029 w 361890"/>
                <a:gd name="connsiteY3" fmla="*/ 137119 h 320718"/>
                <a:gd name="connsiteX4" fmla="*/ 128287 w 361890"/>
                <a:gd name="connsiteY4" fmla="*/ 137119 h 320718"/>
                <a:gd name="connsiteX5" fmla="*/ 286787 w 361890"/>
                <a:gd name="connsiteY5" fmla="*/ 320718 h 320718"/>
                <a:gd name="connsiteX6" fmla="*/ 361622 w 361890"/>
                <a:gd name="connsiteY6" fmla="*/ 251462 h 320718"/>
                <a:gd name="connsiteX0" fmla="*/ 0 w 151992"/>
                <a:gd name="connsiteY0" fmla="*/ 203586 h 203586"/>
                <a:gd name="connsiteX1" fmla="*/ 79947 w 151992"/>
                <a:gd name="connsiteY1" fmla="*/ 0 h 203586"/>
                <a:gd name="connsiteX2" fmla="*/ 151992 w 151992"/>
                <a:gd name="connsiteY2" fmla="*/ 203586 h 203586"/>
                <a:gd name="connsiteX3" fmla="*/ 26029 w 151992"/>
                <a:gd name="connsiteY3" fmla="*/ 137119 h 203586"/>
                <a:gd name="connsiteX4" fmla="*/ 128287 w 151992"/>
                <a:gd name="connsiteY4" fmla="*/ 137119 h 203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992" h="203586">
                  <a:moveTo>
                    <a:pt x="0" y="203586"/>
                  </a:moveTo>
                  <a:lnTo>
                    <a:pt x="79947" y="0"/>
                  </a:lnTo>
                  <a:lnTo>
                    <a:pt x="151992" y="203586"/>
                  </a:lnTo>
                  <a:moveTo>
                    <a:pt x="26029" y="137119"/>
                  </a:moveTo>
                  <a:lnTo>
                    <a:pt x="128287" y="137119"/>
                  </a:lnTo>
                </a:path>
              </a:pathLst>
            </a:custGeom>
            <a:noFill/>
            <a:ln w="18761"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366" name="Group 365">
            <a:extLst>
              <a:ext uri="{FF2B5EF4-FFF2-40B4-BE49-F238E27FC236}">
                <a16:creationId xmlns:a16="http://schemas.microsoft.com/office/drawing/2014/main" id="{FF3465ED-625F-4D4E-A810-56089820B6D3}"/>
              </a:ext>
            </a:extLst>
          </p:cNvPr>
          <p:cNvGrpSpPr/>
          <p:nvPr/>
        </p:nvGrpSpPr>
        <p:grpSpPr>
          <a:xfrm>
            <a:off x="4980757" y="4134989"/>
            <a:ext cx="341982" cy="306338"/>
            <a:chOff x="3561683" y="4660743"/>
            <a:chExt cx="425620" cy="381259"/>
          </a:xfrm>
        </p:grpSpPr>
        <p:sp>
          <p:nvSpPr>
            <p:cNvPr id="367" name="Graphic 569">
              <a:extLst>
                <a:ext uri="{FF2B5EF4-FFF2-40B4-BE49-F238E27FC236}">
                  <a16:creationId xmlns:a16="http://schemas.microsoft.com/office/drawing/2014/main" id="{12F0570C-F30D-4A03-8B57-D5B4EF7CD493}"/>
                </a:ext>
              </a:extLst>
            </p:cNvPr>
            <p:cNvSpPr/>
            <p:nvPr/>
          </p:nvSpPr>
          <p:spPr>
            <a:xfrm>
              <a:off x="3813196" y="4824471"/>
              <a:ext cx="174107" cy="217531"/>
            </a:xfrm>
            <a:custGeom>
              <a:avLst/>
              <a:gdLst>
                <a:gd name="connsiteX0" fmla="*/ 6867 w 371847"/>
                <a:gd name="connsiteY0" fmla="*/ 210452 h 330013"/>
                <a:gd name="connsiteX1" fmla="*/ 86814 w 371847"/>
                <a:gd name="connsiteY1" fmla="*/ 6866 h 330013"/>
                <a:gd name="connsiteX2" fmla="*/ 158859 w 371847"/>
                <a:gd name="connsiteY2" fmla="*/ 210452 h 330013"/>
                <a:gd name="connsiteX3" fmla="*/ 32896 w 371847"/>
                <a:gd name="connsiteY3" fmla="*/ 143985 h 330013"/>
                <a:gd name="connsiteX4" fmla="*/ 135154 w 371847"/>
                <a:gd name="connsiteY4" fmla="*/ 143985 h 330013"/>
                <a:gd name="connsiteX5" fmla="*/ 293654 w 371847"/>
                <a:gd name="connsiteY5" fmla="*/ 327584 h 330013"/>
                <a:gd name="connsiteX6" fmla="*/ 368489 w 371847"/>
                <a:gd name="connsiteY6" fmla="*/ 258328 h 330013"/>
                <a:gd name="connsiteX7" fmla="*/ 232299 w 371847"/>
                <a:gd name="connsiteY7" fmla="*/ 231834 h 330013"/>
                <a:gd name="connsiteX8" fmla="*/ 243920 w 371847"/>
                <a:gd name="connsiteY8" fmla="*/ 306203 h 330013"/>
                <a:gd name="connsiteX9" fmla="*/ 322472 w 371847"/>
                <a:gd name="connsiteY9" fmla="*/ 194184 h 330013"/>
                <a:gd name="connsiteX10" fmla="*/ 260188 w 371847"/>
                <a:gd name="connsiteY10" fmla="*/ 110054 h 330013"/>
                <a:gd name="connsiteX11" fmla="*/ 270879 w 371847"/>
                <a:gd name="connsiteY11" fmla="*/ 295977 h 330013"/>
                <a:gd name="connsiteX12" fmla="*/ 194650 w 371847"/>
                <a:gd name="connsiteY12" fmla="*/ 156070 h 330013"/>
                <a:gd name="connsiteX13" fmla="*/ 357333 w 371847"/>
                <a:gd name="connsiteY13" fmla="*/ 148633 h 330013"/>
                <a:gd name="connsiteX0" fmla="*/ 0 w 361890"/>
                <a:gd name="connsiteY0" fmla="*/ 203586 h 320718"/>
                <a:gd name="connsiteX1" fmla="*/ 79947 w 361890"/>
                <a:gd name="connsiteY1" fmla="*/ 0 h 320718"/>
                <a:gd name="connsiteX2" fmla="*/ 26029 w 361890"/>
                <a:gd name="connsiteY2" fmla="*/ 137119 h 320718"/>
                <a:gd name="connsiteX3" fmla="*/ 128287 w 361890"/>
                <a:gd name="connsiteY3" fmla="*/ 137119 h 320718"/>
                <a:gd name="connsiteX4" fmla="*/ 286787 w 361890"/>
                <a:gd name="connsiteY4" fmla="*/ 320718 h 320718"/>
                <a:gd name="connsiteX5" fmla="*/ 361622 w 361890"/>
                <a:gd name="connsiteY5" fmla="*/ 251462 h 320718"/>
                <a:gd name="connsiteX6" fmla="*/ 225432 w 361890"/>
                <a:gd name="connsiteY6" fmla="*/ 224968 h 320718"/>
                <a:gd name="connsiteX7" fmla="*/ 237053 w 361890"/>
                <a:gd name="connsiteY7" fmla="*/ 299337 h 320718"/>
                <a:gd name="connsiteX8" fmla="*/ 315605 w 361890"/>
                <a:gd name="connsiteY8" fmla="*/ 187318 h 320718"/>
                <a:gd name="connsiteX9" fmla="*/ 253321 w 361890"/>
                <a:gd name="connsiteY9" fmla="*/ 103188 h 320718"/>
                <a:gd name="connsiteX10" fmla="*/ 264012 w 361890"/>
                <a:gd name="connsiteY10" fmla="*/ 289111 h 320718"/>
                <a:gd name="connsiteX11" fmla="*/ 187783 w 361890"/>
                <a:gd name="connsiteY11" fmla="*/ 149204 h 320718"/>
                <a:gd name="connsiteX12" fmla="*/ 350466 w 361890"/>
                <a:gd name="connsiteY12" fmla="*/ 141767 h 320718"/>
                <a:gd name="connsiteX0" fmla="*/ 0 w 361890"/>
                <a:gd name="connsiteY0" fmla="*/ 203586 h 320718"/>
                <a:gd name="connsiteX1" fmla="*/ 79947 w 361890"/>
                <a:gd name="connsiteY1" fmla="*/ 0 h 320718"/>
                <a:gd name="connsiteX2" fmla="*/ 286787 w 361890"/>
                <a:gd name="connsiteY2" fmla="*/ 320718 h 320718"/>
                <a:gd name="connsiteX3" fmla="*/ 361622 w 361890"/>
                <a:gd name="connsiteY3" fmla="*/ 251462 h 320718"/>
                <a:gd name="connsiteX4" fmla="*/ 225432 w 361890"/>
                <a:gd name="connsiteY4" fmla="*/ 224968 h 320718"/>
                <a:gd name="connsiteX5" fmla="*/ 237053 w 361890"/>
                <a:gd name="connsiteY5" fmla="*/ 299337 h 320718"/>
                <a:gd name="connsiteX6" fmla="*/ 315605 w 361890"/>
                <a:gd name="connsiteY6" fmla="*/ 187318 h 320718"/>
                <a:gd name="connsiteX7" fmla="*/ 253321 w 361890"/>
                <a:gd name="connsiteY7" fmla="*/ 103188 h 320718"/>
                <a:gd name="connsiteX8" fmla="*/ 264012 w 361890"/>
                <a:gd name="connsiteY8" fmla="*/ 289111 h 320718"/>
                <a:gd name="connsiteX9" fmla="*/ 187783 w 361890"/>
                <a:gd name="connsiteY9" fmla="*/ 149204 h 320718"/>
                <a:gd name="connsiteX10" fmla="*/ 350466 w 361890"/>
                <a:gd name="connsiteY10" fmla="*/ 141767 h 320718"/>
                <a:gd name="connsiteX0" fmla="*/ 99004 w 174107"/>
                <a:gd name="connsiteY0" fmla="*/ 217530 h 217530"/>
                <a:gd name="connsiteX1" fmla="*/ 173839 w 174107"/>
                <a:gd name="connsiteY1" fmla="*/ 148274 h 217530"/>
                <a:gd name="connsiteX2" fmla="*/ 37649 w 174107"/>
                <a:gd name="connsiteY2" fmla="*/ 121780 h 217530"/>
                <a:gd name="connsiteX3" fmla="*/ 49270 w 174107"/>
                <a:gd name="connsiteY3" fmla="*/ 196149 h 217530"/>
                <a:gd name="connsiteX4" fmla="*/ 127822 w 174107"/>
                <a:gd name="connsiteY4" fmla="*/ 84130 h 217530"/>
                <a:gd name="connsiteX5" fmla="*/ 65538 w 174107"/>
                <a:gd name="connsiteY5" fmla="*/ 0 h 217530"/>
                <a:gd name="connsiteX6" fmla="*/ 76229 w 174107"/>
                <a:gd name="connsiteY6" fmla="*/ 185923 h 217530"/>
                <a:gd name="connsiteX7" fmla="*/ 0 w 174107"/>
                <a:gd name="connsiteY7" fmla="*/ 46016 h 217530"/>
                <a:gd name="connsiteX8" fmla="*/ 162683 w 174107"/>
                <a:gd name="connsiteY8" fmla="*/ 38579 h 21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107" h="217530">
                  <a:moveTo>
                    <a:pt x="99004" y="217530"/>
                  </a:moveTo>
                  <a:cubicBezTo>
                    <a:pt x="132471" y="215671"/>
                    <a:pt x="178022" y="195684"/>
                    <a:pt x="173839" y="148274"/>
                  </a:cubicBezTo>
                  <a:cubicBezTo>
                    <a:pt x="170585" y="109230"/>
                    <a:pt x="87849" y="99004"/>
                    <a:pt x="37649" y="121780"/>
                  </a:cubicBezTo>
                  <a:cubicBezTo>
                    <a:pt x="-9761" y="143161"/>
                    <a:pt x="-13480" y="209628"/>
                    <a:pt x="49270" y="196149"/>
                  </a:cubicBezTo>
                  <a:cubicBezTo>
                    <a:pt x="127358" y="179416"/>
                    <a:pt x="127822" y="84130"/>
                    <a:pt x="127822" y="84130"/>
                  </a:cubicBezTo>
                  <a:moveTo>
                    <a:pt x="65538" y="0"/>
                  </a:moveTo>
                  <a:cubicBezTo>
                    <a:pt x="65538" y="0"/>
                    <a:pt x="51594" y="145950"/>
                    <a:pt x="76229" y="185923"/>
                  </a:cubicBezTo>
                  <a:moveTo>
                    <a:pt x="0" y="46016"/>
                  </a:moveTo>
                  <a:cubicBezTo>
                    <a:pt x="0" y="46016"/>
                    <a:pt x="86454" y="56706"/>
                    <a:pt x="162683" y="38579"/>
                  </a:cubicBezTo>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68" name="Graphic 569">
              <a:extLst>
                <a:ext uri="{FF2B5EF4-FFF2-40B4-BE49-F238E27FC236}">
                  <a16:creationId xmlns:a16="http://schemas.microsoft.com/office/drawing/2014/main" id="{7CF18E11-F393-4942-B303-B4C78B8871D7}"/>
                </a:ext>
              </a:extLst>
            </p:cNvPr>
            <p:cNvSpPr/>
            <p:nvPr/>
          </p:nvSpPr>
          <p:spPr>
            <a:xfrm>
              <a:off x="3561683" y="4660743"/>
              <a:ext cx="151992" cy="189108"/>
            </a:xfrm>
            <a:custGeom>
              <a:avLst/>
              <a:gdLst>
                <a:gd name="connsiteX0" fmla="*/ 6867 w 371847"/>
                <a:gd name="connsiteY0" fmla="*/ 210452 h 330013"/>
                <a:gd name="connsiteX1" fmla="*/ 86814 w 371847"/>
                <a:gd name="connsiteY1" fmla="*/ 6866 h 330013"/>
                <a:gd name="connsiteX2" fmla="*/ 158859 w 371847"/>
                <a:gd name="connsiteY2" fmla="*/ 210452 h 330013"/>
                <a:gd name="connsiteX3" fmla="*/ 32896 w 371847"/>
                <a:gd name="connsiteY3" fmla="*/ 143985 h 330013"/>
                <a:gd name="connsiteX4" fmla="*/ 135154 w 371847"/>
                <a:gd name="connsiteY4" fmla="*/ 143985 h 330013"/>
                <a:gd name="connsiteX5" fmla="*/ 293654 w 371847"/>
                <a:gd name="connsiteY5" fmla="*/ 327584 h 330013"/>
                <a:gd name="connsiteX6" fmla="*/ 368489 w 371847"/>
                <a:gd name="connsiteY6" fmla="*/ 258328 h 330013"/>
                <a:gd name="connsiteX7" fmla="*/ 232299 w 371847"/>
                <a:gd name="connsiteY7" fmla="*/ 231834 h 330013"/>
                <a:gd name="connsiteX8" fmla="*/ 243920 w 371847"/>
                <a:gd name="connsiteY8" fmla="*/ 306203 h 330013"/>
                <a:gd name="connsiteX9" fmla="*/ 322472 w 371847"/>
                <a:gd name="connsiteY9" fmla="*/ 194184 h 330013"/>
                <a:gd name="connsiteX10" fmla="*/ 260188 w 371847"/>
                <a:gd name="connsiteY10" fmla="*/ 110054 h 330013"/>
                <a:gd name="connsiteX11" fmla="*/ 270879 w 371847"/>
                <a:gd name="connsiteY11" fmla="*/ 295977 h 330013"/>
                <a:gd name="connsiteX12" fmla="*/ 194650 w 371847"/>
                <a:gd name="connsiteY12" fmla="*/ 156070 h 330013"/>
                <a:gd name="connsiteX13" fmla="*/ 357333 w 371847"/>
                <a:gd name="connsiteY13" fmla="*/ 148633 h 330013"/>
                <a:gd name="connsiteX0" fmla="*/ 0 w 361890"/>
                <a:gd name="connsiteY0" fmla="*/ 203586 h 320718"/>
                <a:gd name="connsiteX1" fmla="*/ 79947 w 361890"/>
                <a:gd name="connsiteY1" fmla="*/ 0 h 320718"/>
                <a:gd name="connsiteX2" fmla="*/ 151992 w 361890"/>
                <a:gd name="connsiteY2" fmla="*/ 203586 h 320718"/>
                <a:gd name="connsiteX3" fmla="*/ 26029 w 361890"/>
                <a:gd name="connsiteY3" fmla="*/ 137119 h 320718"/>
                <a:gd name="connsiteX4" fmla="*/ 128287 w 361890"/>
                <a:gd name="connsiteY4" fmla="*/ 137119 h 320718"/>
                <a:gd name="connsiteX5" fmla="*/ 286787 w 361890"/>
                <a:gd name="connsiteY5" fmla="*/ 320718 h 320718"/>
                <a:gd name="connsiteX6" fmla="*/ 361622 w 361890"/>
                <a:gd name="connsiteY6" fmla="*/ 251462 h 320718"/>
                <a:gd name="connsiteX7" fmla="*/ 225432 w 361890"/>
                <a:gd name="connsiteY7" fmla="*/ 224968 h 320718"/>
                <a:gd name="connsiteX8" fmla="*/ 237053 w 361890"/>
                <a:gd name="connsiteY8" fmla="*/ 299337 h 320718"/>
                <a:gd name="connsiteX9" fmla="*/ 315605 w 361890"/>
                <a:gd name="connsiteY9" fmla="*/ 187318 h 320718"/>
                <a:gd name="connsiteX10" fmla="*/ 187783 w 361890"/>
                <a:gd name="connsiteY10" fmla="*/ 149204 h 320718"/>
                <a:gd name="connsiteX11" fmla="*/ 350466 w 361890"/>
                <a:gd name="connsiteY11" fmla="*/ 141767 h 320718"/>
                <a:gd name="connsiteX0" fmla="*/ 0 w 361890"/>
                <a:gd name="connsiteY0" fmla="*/ 203586 h 320718"/>
                <a:gd name="connsiteX1" fmla="*/ 79947 w 361890"/>
                <a:gd name="connsiteY1" fmla="*/ 0 h 320718"/>
                <a:gd name="connsiteX2" fmla="*/ 151992 w 361890"/>
                <a:gd name="connsiteY2" fmla="*/ 203586 h 320718"/>
                <a:gd name="connsiteX3" fmla="*/ 26029 w 361890"/>
                <a:gd name="connsiteY3" fmla="*/ 137119 h 320718"/>
                <a:gd name="connsiteX4" fmla="*/ 128287 w 361890"/>
                <a:gd name="connsiteY4" fmla="*/ 137119 h 320718"/>
                <a:gd name="connsiteX5" fmla="*/ 286787 w 361890"/>
                <a:gd name="connsiteY5" fmla="*/ 320718 h 320718"/>
                <a:gd name="connsiteX6" fmla="*/ 361622 w 361890"/>
                <a:gd name="connsiteY6" fmla="*/ 251462 h 320718"/>
                <a:gd name="connsiteX7" fmla="*/ 225432 w 361890"/>
                <a:gd name="connsiteY7" fmla="*/ 224968 h 320718"/>
                <a:gd name="connsiteX8" fmla="*/ 237053 w 361890"/>
                <a:gd name="connsiteY8" fmla="*/ 299337 h 320718"/>
                <a:gd name="connsiteX9" fmla="*/ 315605 w 361890"/>
                <a:gd name="connsiteY9" fmla="*/ 187318 h 320718"/>
                <a:gd name="connsiteX0" fmla="*/ 0 w 361890"/>
                <a:gd name="connsiteY0" fmla="*/ 203586 h 320718"/>
                <a:gd name="connsiteX1" fmla="*/ 79947 w 361890"/>
                <a:gd name="connsiteY1" fmla="*/ 0 h 320718"/>
                <a:gd name="connsiteX2" fmla="*/ 151992 w 361890"/>
                <a:gd name="connsiteY2" fmla="*/ 203586 h 320718"/>
                <a:gd name="connsiteX3" fmla="*/ 26029 w 361890"/>
                <a:gd name="connsiteY3" fmla="*/ 137119 h 320718"/>
                <a:gd name="connsiteX4" fmla="*/ 128287 w 361890"/>
                <a:gd name="connsiteY4" fmla="*/ 137119 h 320718"/>
                <a:gd name="connsiteX5" fmla="*/ 286787 w 361890"/>
                <a:gd name="connsiteY5" fmla="*/ 320718 h 320718"/>
                <a:gd name="connsiteX6" fmla="*/ 361622 w 361890"/>
                <a:gd name="connsiteY6" fmla="*/ 251462 h 320718"/>
                <a:gd name="connsiteX7" fmla="*/ 237053 w 361890"/>
                <a:gd name="connsiteY7" fmla="*/ 299337 h 320718"/>
                <a:gd name="connsiteX8" fmla="*/ 315605 w 361890"/>
                <a:gd name="connsiteY8" fmla="*/ 187318 h 320718"/>
                <a:gd name="connsiteX0" fmla="*/ 0 w 362009"/>
                <a:gd name="connsiteY0" fmla="*/ 203586 h 320718"/>
                <a:gd name="connsiteX1" fmla="*/ 79947 w 362009"/>
                <a:gd name="connsiteY1" fmla="*/ 0 h 320718"/>
                <a:gd name="connsiteX2" fmla="*/ 151992 w 362009"/>
                <a:gd name="connsiteY2" fmla="*/ 203586 h 320718"/>
                <a:gd name="connsiteX3" fmla="*/ 26029 w 362009"/>
                <a:gd name="connsiteY3" fmla="*/ 137119 h 320718"/>
                <a:gd name="connsiteX4" fmla="*/ 128287 w 362009"/>
                <a:gd name="connsiteY4" fmla="*/ 137119 h 320718"/>
                <a:gd name="connsiteX5" fmla="*/ 286787 w 362009"/>
                <a:gd name="connsiteY5" fmla="*/ 320718 h 320718"/>
                <a:gd name="connsiteX6" fmla="*/ 361622 w 362009"/>
                <a:gd name="connsiteY6" fmla="*/ 251462 h 320718"/>
                <a:gd name="connsiteX7" fmla="*/ 315605 w 362009"/>
                <a:gd name="connsiteY7" fmla="*/ 187318 h 320718"/>
                <a:gd name="connsiteX0" fmla="*/ 0 w 361890"/>
                <a:gd name="connsiteY0" fmla="*/ 203586 h 320718"/>
                <a:gd name="connsiteX1" fmla="*/ 79947 w 361890"/>
                <a:gd name="connsiteY1" fmla="*/ 0 h 320718"/>
                <a:gd name="connsiteX2" fmla="*/ 151992 w 361890"/>
                <a:gd name="connsiteY2" fmla="*/ 203586 h 320718"/>
                <a:gd name="connsiteX3" fmla="*/ 26029 w 361890"/>
                <a:gd name="connsiteY3" fmla="*/ 137119 h 320718"/>
                <a:gd name="connsiteX4" fmla="*/ 128287 w 361890"/>
                <a:gd name="connsiteY4" fmla="*/ 137119 h 320718"/>
                <a:gd name="connsiteX5" fmla="*/ 286787 w 361890"/>
                <a:gd name="connsiteY5" fmla="*/ 320718 h 320718"/>
                <a:gd name="connsiteX6" fmla="*/ 361622 w 361890"/>
                <a:gd name="connsiteY6" fmla="*/ 251462 h 320718"/>
                <a:gd name="connsiteX0" fmla="*/ 0 w 151992"/>
                <a:gd name="connsiteY0" fmla="*/ 203586 h 203586"/>
                <a:gd name="connsiteX1" fmla="*/ 79947 w 151992"/>
                <a:gd name="connsiteY1" fmla="*/ 0 h 203586"/>
                <a:gd name="connsiteX2" fmla="*/ 151992 w 151992"/>
                <a:gd name="connsiteY2" fmla="*/ 203586 h 203586"/>
                <a:gd name="connsiteX3" fmla="*/ 26029 w 151992"/>
                <a:gd name="connsiteY3" fmla="*/ 137119 h 203586"/>
                <a:gd name="connsiteX4" fmla="*/ 128287 w 151992"/>
                <a:gd name="connsiteY4" fmla="*/ 137119 h 203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992" h="203586">
                  <a:moveTo>
                    <a:pt x="0" y="203586"/>
                  </a:moveTo>
                  <a:lnTo>
                    <a:pt x="79947" y="0"/>
                  </a:lnTo>
                  <a:lnTo>
                    <a:pt x="151992" y="203586"/>
                  </a:lnTo>
                  <a:moveTo>
                    <a:pt x="26029" y="137119"/>
                  </a:moveTo>
                  <a:lnTo>
                    <a:pt x="128287" y="137119"/>
                  </a:lnTo>
                </a:path>
              </a:pathLst>
            </a:custGeom>
            <a:noFill/>
            <a:ln w="19050"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69" name="Group 368">
              <a:extLst>
                <a:ext uri="{FF2B5EF4-FFF2-40B4-BE49-F238E27FC236}">
                  <a16:creationId xmlns:a16="http://schemas.microsoft.com/office/drawing/2014/main" id="{B826E8E3-B7A6-4E13-A0CA-8C9A91AFE7AC}"/>
                </a:ext>
              </a:extLst>
            </p:cNvPr>
            <p:cNvGrpSpPr/>
            <p:nvPr/>
          </p:nvGrpSpPr>
          <p:grpSpPr>
            <a:xfrm rot="4500000">
              <a:off x="3602680" y="4874014"/>
              <a:ext cx="143879" cy="156277"/>
              <a:chOff x="3545204" y="5263677"/>
              <a:chExt cx="244801" cy="265895"/>
            </a:xfrm>
          </p:grpSpPr>
          <p:sp>
            <p:nvSpPr>
              <p:cNvPr id="373" name="Freeform 6">
                <a:extLst>
                  <a:ext uri="{FF2B5EF4-FFF2-40B4-BE49-F238E27FC236}">
                    <a16:creationId xmlns:a16="http://schemas.microsoft.com/office/drawing/2014/main" id="{EA8E1786-4961-4EA9-919F-472A75E75907}"/>
                  </a:ext>
                </a:extLst>
              </p:cNvPr>
              <p:cNvSpPr>
                <a:spLocks/>
              </p:cNvSpPr>
              <p:nvPr/>
            </p:nvSpPr>
            <p:spPr bwMode="auto">
              <a:xfrm>
                <a:off x="3561942" y="5263677"/>
                <a:ext cx="228063" cy="199838"/>
              </a:xfrm>
              <a:custGeom>
                <a:avLst/>
                <a:gdLst>
                  <a:gd name="T0" fmla="*/ 0 w 147"/>
                  <a:gd name="T1" fmla="*/ 125 h 129"/>
                  <a:gd name="T2" fmla="*/ 32 w 147"/>
                  <a:gd name="T3" fmla="*/ 129 h 129"/>
                  <a:gd name="T4" fmla="*/ 147 w 147"/>
                  <a:gd name="T5" fmla="*/ 14 h 129"/>
                  <a:gd name="T6" fmla="*/ 146 w 147"/>
                  <a:gd name="T7" fmla="*/ 0 h 129"/>
                </a:gdLst>
                <a:ahLst/>
                <a:cxnLst>
                  <a:cxn ang="0">
                    <a:pos x="T0" y="T1"/>
                  </a:cxn>
                  <a:cxn ang="0">
                    <a:pos x="T2" y="T3"/>
                  </a:cxn>
                  <a:cxn ang="0">
                    <a:pos x="T4" y="T5"/>
                  </a:cxn>
                  <a:cxn ang="0">
                    <a:pos x="T6" y="T7"/>
                  </a:cxn>
                </a:cxnLst>
                <a:rect l="0" t="0" r="r" b="b"/>
                <a:pathLst>
                  <a:path w="147" h="129">
                    <a:moveTo>
                      <a:pt x="0" y="125"/>
                    </a:moveTo>
                    <a:cubicBezTo>
                      <a:pt x="10" y="127"/>
                      <a:pt x="21" y="129"/>
                      <a:pt x="32" y="129"/>
                    </a:cubicBezTo>
                    <a:cubicBezTo>
                      <a:pt x="96" y="129"/>
                      <a:pt x="147" y="77"/>
                      <a:pt x="147" y="14"/>
                    </a:cubicBezTo>
                    <a:cubicBezTo>
                      <a:pt x="147" y="9"/>
                      <a:pt x="147" y="4"/>
                      <a:pt x="146" y="0"/>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74" name="Freeform 7">
                <a:extLst>
                  <a:ext uri="{FF2B5EF4-FFF2-40B4-BE49-F238E27FC236}">
                    <a16:creationId xmlns:a16="http://schemas.microsoft.com/office/drawing/2014/main" id="{66EE895C-D228-4521-A703-32D8FD6CEED9}"/>
                  </a:ext>
                </a:extLst>
              </p:cNvPr>
              <p:cNvSpPr>
                <a:spLocks/>
              </p:cNvSpPr>
              <p:nvPr/>
            </p:nvSpPr>
            <p:spPr bwMode="auto">
              <a:xfrm>
                <a:off x="3545204" y="5401974"/>
                <a:ext cx="82027" cy="127598"/>
              </a:xfrm>
              <a:custGeom>
                <a:avLst/>
                <a:gdLst>
                  <a:gd name="T0" fmla="*/ 33 w 33"/>
                  <a:gd name="T1" fmla="*/ 0 h 51"/>
                  <a:gd name="T2" fmla="*/ 0 w 33"/>
                  <a:gd name="T3" fmla="*/ 19 h 51"/>
                  <a:gd name="T4" fmla="*/ 20 w 33"/>
                  <a:gd name="T5" fmla="*/ 51 h 51"/>
                </a:gdLst>
                <a:ahLst/>
                <a:cxnLst>
                  <a:cxn ang="0">
                    <a:pos x="T0" y="T1"/>
                  </a:cxn>
                  <a:cxn ang="0">
                    <a:pos x="T2" y="T3"/>
                  </a:cxn>
                  <a:cxn ang="0">
                    <a:pos x="T4" y="T5"/>
                  </a:cxn>
                </a:cxnLst>
                <a:rect l="0" t="0" r="r" b="b"/>
                <a:pathLst>
                  <a:path w="33" h="51">
                    <a:moveTo>
                      <a:pt x="33" y="0"/>
                    </a:moveTo>
                    <a:cubicBezTo>
                      <a:pt x="0" y="19"/>
                      <a:pt x="0" y="19"/>
                      <a:pt x="0" y="19"/>
                    </a:cubicBezTo>
                    <a:cubicBezTo>
                      <a:pt x="20" y="51"/>
                      <a:pt x="20" y="51"/>
                      <a:pt x="20" y="51"/>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370" name="Group 369">
              <a:extLst>
                <a:ext uri="{FF2B5EF4-FFF2-40B4-BE49-F238E27FC236}">
                  <a16:creationId xmlns:a16="http://schemas.microsoft.com/office/drawing/2014/main" id="{951921FE-DA10-4273-9EAC-E9F412EC5100}"/>
                </a:ext>
              </a:extLst>
            </p:cNvPr>
            <p:cNvGrpSpPr/>
            <p:nvPr/>
          </p:nvGrpSpPr>
          <p:grpSpPr>
            <a:xfrm rot="4500000">
              <a:off x="3742474" y="4658569"/>
              <a:ext cx="128617" cy="158317"/>
              <a:chOff x="3433233" y="5042859"/>
              <a:chExt cx="218833" cy="269366"/>
            </a:xfrm>
          </p:grpSpPr>
          <p:sp>
            <p:nvSpPr>
              <p:cNvPr id="371" name="Freeform 5">
                <a:extLst>
                  <a:ext uri="{FF2B5EF4-FFF2-40B4-BE49-F238E27FC236}">
                    <a16:creationId xmlns:a16="http://schemas.microsoft.com/office/drawing/2014/main" id="{1368E73E-AD26-4E98-AAB5-9D55F7707964}"/>
                  </a:ext>
                </a:extLst>
              </p:cNvPr>
              <p:cNvSpPr>
                <a:spLocks/>
              </p:cNvSpPr>
              <p:nvPr/>
            </p:nvSpPr>
            <p:spPr bwMode="auto">
              <a:xfrm>
                <a:off x="3433233" y="5107871"/>
                <a:ext cx="200966" cy="204354"/>
              </a:xfrm>
              <a:custGeom>
                <a:avLst/>
                <a:gdLst>
                  <a:gd name="T0" fmla="*/ 1 w 130"/>
                  <a:gd name="T1" fmla="*/ 132 h 132"/>
                  <a:gd name="T2" fmla="*/ 0 w 130"/>
                  <a:gd name="T3" fmla="*/ 115 h 132"/>
                  <a:gd name="T4" fmla="*/ 115 w 130"/>
                  <a:gd name="T5" fmla="*/ 0 h 132"/>
                  <a:gd name="T6" fmla="*/ 130 w 130"/>
                  <a:gd name="T7" fmla="*/ 0 h 132"/>
                </a:gdLst>
                <a:ahLst/>
                <a:cxnLst>
                  <a:cxn ang="0">
                    <a:pos x="T0" y="T1"/>
                  </a:cxn>
                  <a:cxn ang="0">
                    <a:pos x="T2" y="T3"/>
                  </a:cxn>
                  <a:cxn ang="0">
                    <a:pos x="T4" y="T5"/>
                  </a:cxn>
                  <a:cxn ang="0">
                    <a:pos x="T6" y="T7"/>
                  </a:cxn>
                </a:cxnLst>
                <a:rect l="0" t="0" r="r" b="b"/>
                <a:pathLst>
                  <a:path w="130" h="132">
                    <a:moveTo>
                      <a:pt x="1" y="132"/>
                    </a:moveTo>
                    <a:cubicBezTo>
                      <a:pt x="1" y="126"/>
                      <a:pt x="0" y="120"/>
                      <a:pt x="0" y="115"/>
                    </a:cubicBezTo>
                    <a:cubicBezTo>
                      <a:pt x="0" y="51"/>
                      <a:pt x="51" y="0"/>
                      <a:pt x="115" y="0"/>
                    </a:cubicBezTo>
                    <a:cubicBezTo>
                      <a:pt x="121" y="0"/>
                      <a:pt x="126" y="0"/>
                      <a:pt x="130" y="0"/>
                    </a:cubicBezTo>
                  </a:path>
                </a:pathLst>
              </a:cu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72" name="Freeform 8">
                <a:extLst>
                  <a:ext uri="{FF2B5EF4-FFF2-40B4-BE49-F238E27FC236}">
                    <a16:creationId xmlns:a16="http://schemas.microsoft.com/office/drawing/2014/main" id="{2FB6B0E5-2248-4B65-8672-DA6A5D297175}"/>
                  </a:ext>
                </a:extLst>
              </p:cNvPr>
              <p:cNvSpPr>
                <a:spLocks/>
              </p:cNvSpPr>
              <p:nvPr/>
            </p:nvSpPr>
            <p:spPr bwMode="auto">
              <a:xfrm rot="20743478">
                <a:off x="3570039" y="5042859"/>
                <a:ext cx="82027" cy="129421"/>
              </a:xfrm>
              <a:custGeom>
                <a:avLst/>
                <a:gdLst>
                  <a:gd name="T0" fmla="*/ 0 w 33"/>
                  <a:gd name="T1" fmla="*/ 52 h 52"/>
                  <a:gd name="T2" fmla="*/ 33 w 33"/>
                  <a:gd name="T3" fmla="*/ 32 h 52"/>
                  <a:gd name="T4" fmla="*/ 13 w 33"/>
                  <a:gd name="T5" fmla="*/ 0 h 52"/>
                </a:gdLst>
                <a:ahLst/>
                <a:cxnLst>
                  <a:cxn ang="0">
                    <a:pos x="T0" y="T1"/>
                  </a:cxn>
                  <a:cxn ang="0">
                    <a:pos x="T2" y="T3"/>
                  </a:cxn>
                  <a:cxn ang="0">
                    <a:pos x="T4" y="T5"/>
                  </a:cxn>
                </a:cxnLst>
                <a:rect l="0" t="0" r="r" b="b"/>
                <a:pathLst>
                  <a:path w="33" h="52">
                    <a:moveTo>
                      <a:pt x="0" y="52"/>
                    </a:moveTo>
                    <a:cubicBezTo>
                      <a:pt x="33" y="32"/>
                      <a:pt x="33" y="32"/>
                      <a:pt x="33" y="32"/>
                    </a:cubicBezTo>
                    <a:cubicBezTo>
                      <a:pt x="13" y="0"/>
                      <a:pt x="13" y="0"/>
                      <a:pt x="13" y="0"/>
                    </a:cubicBezTo>
                  </a:path>
                </a:pathLst>
              </a:cu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375" name="Group 374">
            <a:extLst>
              <a:ext uri="{FF2B5EF4-FFF2-40B4-BE49-F238E27FC236}">
                <a16:creationId xmlns:a16="http://schemas.microsoft.com/office/drawing/2014/main" id="{687C9A7C-1B2E-412B-B8B9-5291C02FF412}"/>
              </a:ext>
            </a:extLst>
          </p:cNvPr>
          <p:cNvGrpSpPr/>
          <p:nvPr/>
        </p:nvGrpSpPr>
        <p:grpSpPr>
          <a:xfrm>
            <a:off x="3869982" y="4116707"/>
            <a:ext cx="342902" cy="342902"/>
            <a:chOff x="2511480" y="1832429"/>
            <a:chExt cx="3056720" cy="3056720"/>
          </a:xfrm>
        </p:grpSpPr>
        <p:sp>
          <p:nvSpPr>
            <p:cNvPr id="376" name="Freeform 18">
              <a:extLst>
                <a:ext uri="{FF2B5EF4-FFF2-40B4-BE49-F238E27FC236}">
                  <a16:creationId xmlns:a16="http://schemas.microsoft.com/office/drawing/2014/main" id="{F3040540-B329-445F-9AEC-7C064C171B61}"/>
                </a:ext>
              </a:extLst>
            </p:cNvPr>
            <p:cNvSpPr>
              <a:spLocks noEditPoints="1"/>
            </p:cNvSpPr>
            <p:nvPr/>
          </p:nvSpPr>
          <p:spPr bwMode="auto">
            <a:xfrm>
              <a:off x="2511480" y="1832429"/>
              <a:ext cx="1222690" cy="1222690"/>
            </a:xfrm>
            <a:custGeom>
              <a:avLst/>
              <a:gdLst>
                <a:gd name="T0" fmla="*/ 51 w 107"/>
                <a:gd name="T1" fmla="*/ 20 h 106"/>
                <a:gd name="T2" fmla="*/ 51 w 107"/>
                <a:gd name="T3" fmla="*/ 20 h 106"/>
                <a:gd name="T4" fmla="*/ 52 w 107"/>
                <a:gd name="T5" fmla="*/ 16 h 106"/>
                <a:gd name="T6" fmla="*/ 53 w 107"/>
                <a:gd name="T7" fmla="*/ 13 h 106"/>
                <a:gd name="T8" fmla="*/ 53 w 107"/>
                <a:gd name="T9" fmla="*/ 13 h 106"/>
                <a:gd name="T10" fmla="*/ 54 w 107"/>
                <a:gd name="T11" fmla="*/ 16 h 106"/>
                <a:gd name="T12" fmla="*/ 55 w 107"/>
                <a:gd name="T13" fmla="*/ 20 h 106"/>
                <a:gd name="T14" fmla="*/ 74 w 107"/>
                <a:gd name="T15" fmla="*/ 65 h 106"/>
                <a:gd name="T16" fmla="*/ 32 w 107"/>
                <a:gd name="T17" fmla="*/ 65 h 106"/>
                <a:gd name="T18" fmla="*/ 51 w 107"/>
                <a:gd name="T19" fmla="*/ 20 h 106"/>
                <a:gd name="T20" fmla="*/ 27 w 107"/>
                <a:gd name="T21" fmla="*/ 76 h 106"/>
                <a:gd name="T22" fmla="*/ 27 w 107"/>
                <a:gd name="T23" fmla="*/ 76 h 106"/>
                <a:gd name="T24" fmla="*/ 78 w 107"/>
                <a:gd name="T25" fmla="*/ 76 h 106"/>
                <a:gd name="T26" fmla="*/ 91 w 107"/>
                <a:gd name="T27" fmla="*/ 106 h 106"/>
                <a:gd name="T28" fmla="*/ 107 w 107"/>
                <a:gd name="T29" fmla="*/ 106 h 106"/>
                <a:gd name="T30" fmla="*/ 61 w 107"/>
                <a:gd name="T31" fmla="*/ 0 h 106"/>
                <a:gd name="T32" fmla="*/ 46 w 107"/>
                <a:gd name="T33" fmla="*/ 0 h 106"/>
                <a:gd name="T34" fmla="*/ 0 w 107"/>
                <a:gd name="T35" fmla="*/ 106 h 106"/>
                <a:gd name="T36" fmla="*/ 16 w 107"/>
                <a:gd name="T37" fmla="*/ 106 h 106"/>
                <a:gd name="T38" fmla="*/ 27 w 107"/>
                <a:gd name="T39" fmla="*/ 7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7" h="106">
                  <a:moveTo>
                    <a:pt x="51" y="20"/>
                  </a:moveTo>
                  <a:lnTo>
                    <a:pt x="51" y="20"/>
                  </a:lnTo>
                  <a:cubicBezTo>
                    <a:pt x="52" y="19"/>
                    <a:pt x="52" y="18"/>
                    <a:pt x="52" y="16"/>
                  </a:cubicBezTo>
                  <a:cubicBezTo>
                    <a:pt x="52" y="15"/>
                    <a:pt x="52" y="14"/>
                    <a:pt x="53" y="13"/>
                  </a:cubicBezTo>
                  <a:lnTo>
                    <a:pt x="53" y="13"/>
                  </a:lnTo>
                  <a:cubicBezTo>
                    <a:pt x="54" y="14"/>
                    <a:pt x="54" y="15"/>
                    <a:pt x="54" y="16"/>
                  </a:cubicBezTo>
                  <a:cubicBezTo>
                    <a:pt x="54" y="18"/>
                    <a:pt x="55" y="19"/>
                    <a:pt x="55" y="20"/>
                  </a:cubicBezTo>
                  <a:lnTo>
                    <a:pt x="74" y="65"/>
                  </a:lnTo>
                  <a:lnTo>
                    <a:pt x="32" y="65"/>
                  </a:lnTo>
                  <a:lnTo>
                    <a:pt x="51" y="20"/>
                  </a:lnTo>
                  <a:close/>
                  <a:moveTo>
                    <a:pt x="27" y="76"/>
                  </a:moveTo>
                  <a:lnTo>
                    <a:pt x="27" y="76"/>
                  </a:lnTo>
                  <a:lnTo>
                    <a:pt x="78" y="76"/>
                  </a:lnTo>
                  <a:lnTo>
                    <a:pt x="91" y="106"/>
                  </a:lnTo>
                  <a:lnTo>
                    <a:pt x="107" y="106"/>
                  </a:lnTo>
                  <a:lnTo>
                    <a:pt x="61" y="0"/>
                  </a:lnTo>
                  <a:lnTo>
                    <a:pt x="46" y="0"/>
                  </a:lnTo>
                  <a:lnTo>
                    <a:pt x="0" y="106"/>
                  </a:lnTo>
                  <a:lnTo>
                    <a:pt x="16" y="106"/>
                  </a:lnTo>
                  <a:lnTo>
                    <a:pt x="27" y="76"/>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78" name="Freeform 20">
              <a:extLst>
                <a:ext uri="{FF2B5EF4-FFF2-40B4-BE49-F238E27FC236}">
                  <a16:creationId xmlns:a16="http://schemas.microsoft.com/office/drawing/2014/main" id="{B6A6B616-582A-48EF-A11F-C76EB10519EA}"/>
                </a:ext>
              </a:extLst>
            </p:cNvPr>
            <p:cNvSpPr>
              <a:spLocks/>
            </p:cNvSpPr>
            <p:nvPr/>
          </p:nvSpPr>
          <p:spPr bwMode="auto">
            <a:xfrm>
              <a:off x="2511480" y="4592741"/>
              <a:ext cx="3056720" cy="296408"/>
            </a:xfrm>
            <a:custGeom>
              <a:avLst/>
              <a:gdLst>
                <a:gd name="T0" fmla="*/ 266 w 266"/>
                <a:gd name="T1" fmla="*/ 0 h 26"/>
                <a:gd name="T2" fmla="*/ 266 w 266"/>
                <a:gd name="T3" fmla="*/ 0 h 26"/>
                <a:gd name="T4" fmla="*/ 0 w 266"/>
                <a:gd name="T5" fmla="*/ 0 h 26"/>
                <a:gd name="T6" fmla="*/ 0 w 266"/>
                <a:gd name="T7" fmla="*/ 26 h 26"/>
                <a:gd name="T8" fmla="*/ 266 w 266"/>
                <a:gd name="T9" fmla="*/ 26 h 26"/>
                <a:gd name="T10" fmla="*/ 266 w 266"/>
                <a:gd name="T11" fmla="*/ 0 h 26"/>
              </a:gdLst>
              <a:ahLst/>
              <a:cxnLst>
                <a:cxn ang="0">
                  <a:pos x="T0" y="T1"/>
                </a:cxn>
                <a:cxn ang="0">
                  <a:pos x="T2" y="T3"/>
                </a:cxn>
                <a:cxn ang="0">
                  <a:pos x="T4" y="T5"/>
                </a:cxn>
                <a:cxn ang="0">
                  <a:pos x="T6" y="T7"/>
                </a:cxn>
                <a:cxn ang="0">
                  <a:pos x="T8" y="T9"/>
                </a:cxn>
                <a:cxn ang="0">
                  <a:pos x="T10" y="T11"/>
                </a:cxn>
              </a:cxnLst>
              <a:rect l="0" t="0" r="r" b="b"/>
              <a:pathLst>
                <a:path w="266" h="26">
                  <a:moveTo>
                    <a:pt x="266" y="0"/>
                  </a:moveTo>
                  <a:lnTo>
                    <a:pt x="266" y="0"/>
                  </a:lnTo>
                  <a:lnTo>
                    <a:pt x="0" y="0"/>
                  </a:lnTo>
                  <a:lnTo>
                    <a:pt x="0" y="26"/>
                  </a:lnTo>
                  <a:lnTo>
                    <a:pt x="266" y="26"/>
                  </a:lnTo>
                  <a:lnTo>
                    <a:pt x="266"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79" name="Freeform 21">
              <a:extLst>
                <a:ext uri="{FF2B5EF4-FFF2-40B4-BE49-F238E27FC236}">
                  <a16:creationId xmlns:a16="http://schemas.microsoft.com/office/drawing/2014/main" id="{6BC7B2E2-230B-429C-8310-60BB7E2678A1}"/>
                </a:ext>
              </a:extLst>
            </p:cNvPr>
            <p:cNvSpPr>
              <a:spLocks/>
            </p:cNvSpPr>
            <p:nvPr/>
          </p:nvSpPr>
          <p:spPr bwMode="auto">
            <a:xfrm>
              <a:off x="2511480" y="3981392"/>
              <a:ext cx="3056720" cy="296408"/>
            </a:xfrm>
            <a:custGeom>
              <a:avLst/>
              <a:gdLst>
                <a:gd name="T0" fmla="*/ 266 w 266"/>
                <a:gd name="T1" fmla="*/ 0 h 26"/>
                <a:gd name="T2" fmla="*/ 266 w 266"/>
                <a:gd name="T3" fmla="*/ 0 h 26"/>
                <a:gd name="T4" fmla="*/ 0 w 266"/>
                <a:gd name="T5" fmla="*/ 0 h 26"/>
                <a:gd name="T6" fmla="*/ 0 w 266"/>
                <a:gd name="T7" fmla="*/ 26 h 26"/>
                <a:gd name="T8" fmla="*/ 266 w 266"/>
                <a:gd name="T9" fmla="*/ 26 h 26"/>
                <a:gd name="T10" fmla="*/ 266 w 266"/>
                <a:gd name="T11" fmla="*/ 0 h 26"/>
              </a:gdLst>
              <a:ahLst/>
              <a:cxnLst>
                <a:cxn ang="0">
                  <a:pos x="T0" y="T1"/>
                </a:cxn>
                <a:cxn ang="0">
                  <a:pos x="T2" y="T3"/>
                </a:cxn>
                <a:cxn ang="0">
                  <a:pos x="T4" y="T5"/>
                </a:cxn>
                <a:cxn ang="0">
                  <a:pos x="T6" y="T7"/>
                </a:cxn>
                <a:cxn ang="0">
                  <a:pos x="T8" y="T9"/>
                </a:cxn>
                <a:cxn ang="0">
                  <a:pos x="T10" y="T11"/>
                </a:cxn>
              </a:cxnLst>
              <a:rect l="0" t="0" r="r" b="b"/>
              <a:pathLst>
                <a:path w="266" h="26">
                  <a:moveTo>
                    <a:pt x="266" y="0"/>
                  </a:moveTo>
                  <a:lnTo>
                    <a:pt x="266" y="0"/>
                  </a:lnTo>
                  <a:lnTo>
                    <a:pt x="0" y="0"/>
                  </a:lnTo>
                  <a:lnTo>
                    <a:pt x="0" y="26"/>
                  </a:lnTo>
                  <a:lnTo>
                    <a:pt x="266" y="26"/>
                  </a:lnTo>
                  <a:lnTo>
                    <a:pt x="266"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80" name="Freeform 22">
              <a:extLst>
                <a:ext uri="{FF2B5EF4-FFF2-40B4-BE49-F238E27FC236}">
                  <a16:creationId xmlns:a16="http://schemas.microsoft.com/office/drawing/2014/main" id="{8D93926B-ADD0-4839-932D-9FD232CAFE85}"/>
                </a:ext>
              </a:extLst>
            </p:cNvPr>
            <p:cNvSpPr>
              <a:spLocks/>
            </p:cNvSpPr>
            <p:nvPr/>
          </p:nvSpPr>
          <p:spPr bwMode="auto">
            <a:xfrm>
              <a:off x="4030578" y="2740178"/>
              <a:ext cx="1537622" cy="314932"/>
            </a:xfrm>
            <a:custGeom>
              <a:avLst/>
              <a:gdLst>
                <a:gd name="T0" fmla="*/ 133 w 133"/>
                <a:gd name="T1" fmla="*/ 0 h 27"/>
                <a:gd name="T2" fmla="*/ 133 w 133"/>
                <a:gd name="T3" fmla="*/ 0 h 27"/>
                <a:gd name="T4" fmla="*/ 0 w 133"/>
                <a:gd name="T5" fmla="*/ 0 h 27"/>
                <a:gd name="T6" fmla="*/ 0 w 133"/>
                <a:gd name="T7" fmla="*/ 27 h 27"/>
                <a:gd name="T8" fmla="*/ 133 w 133"/>
                <a:gd name="T9" fmla="*/ 27 h 27"/>
                <a:gd name="T10" fmla="*/ 133 w 133"/>
                <a:gd name="T11" fmla="*/ 0 h 27"/>
              </a:gdLst>
              <a:ahLst/>
              <a:cxnLst>
                <a:cxn ang="0">
                  <a:pos x="T0" y="T1"/>
                </a:cxn>
                <a:cxn ang="0">
                  <a:pos x="T2" y="T3"/>
                </a:cxn>
                <a:cxn ang="0">
                  <a:pos x="T4" y="T5"/>
                </a:cxn>
                <a:cxn ang="0">
                  <a:pos x="T6" y="T7"/>
                </a:cxn>
                <a:cxn ang="0">
                  <a:pos x="T8" y="T9"/>
                </a:cxn>
                <a:cxn ang="0">
                  <a:pos x="T10" y="T11"/>
                </a:cxn>
              </a:cxnLst>
              <a:rect l="0" t="0" r="r" b="b"/>
              <a:pathLst>
                <a:path w="133" h="27">
                  <a:moveTo>
                    <a:pt x="133" y="0"/>
                  </a:moveTo>
                  <a:lnTo>
                    <a:pt x="133" y="0"/>
                  </a:lnTo>
                  <a:lnTo>
                    <a:pt x="0" y="0"/>
                  </a:lnTo>
                  <a:lnTo>
                    <a:pt x="0" y="27"/>
                  </a:lnTo>
                  <a:lnTo>
                    <a:pt x="133" y="27"/>
                  </a:lnTo>
                  <a:lnTo>
                    <a:pt x="13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81" name="Freeform 23">
              <a:extLst>
                <a:ext uri="{FF2B5EF4-FFF2-40B4-BE49-F238E27FC236}">
                  <a16:creationId xmlns:a16="http://schemas.microsoft.com/office/drawing/2014/main" id="{7782573F-83A8-434A-851B-1A3E91422A8A}"/>
                </a:ext>
              </a:extLst>
            </p:cNvPr>
            <p:cNvSpPr>
              <a:spLocks/>
            </p:cNvSpPr>
            <p:nvPr/>
          </p:nvSpPr>
          <p:spPr bwMode="auto">
            <a:xfrm>
              <a:off x="2511480" y="3370051"/>
              <a:ext cx="3056720" cy="296408"/>
            </a:xfrm>
            <a:custGeom>
              <a:avLst/>
              <a:gdLst>
                <a:gd name="T0" fmla="*/ 266 w 266"/>
                <a:gd name="T1" fmla="*/ 0 h 26"/>
                <a:gd name="T2" fmla="*/ 266 w 266"/>
                <a:gd name="T3" fmla="*/ 0 h 26"/>
                <a:gd name="T4" fmla="*/ 0 w 266"/>
                <a:gd name="T5" fmla="*/ 0 h 26"/>
                <a:gd name="T6" fmla="*/ 0 w 266"/>
                <a:gd name="T7" fmla="*/ 26 h 26"/>
                <a:gd name="T8" fmla="*/ 266 w 266"/>
                <a:gd name="T9" fmla="*/ 26 h 26"/>
                <a:gd name="T10" fmla="*/ 266 w 266"/>
                <a:gd name="T11" fmla="*/ 0 h 26"/>
              </a:gdLst>
              <a:ahLst/>
              <a:cxnLst>
                <a:cxn ang="0">
                  <a:pos x="T0" y="T1"/>
                </a:cxn>
                <a:cxn ang="0">
                  <a:pos x="T2" y="T3"/>
                </a:cxn>
                <a:cxn ang="0">
                  <a:pos x="T4" y="T5"/>
                </a:cxn>
                <a:cxn ang="0">
                  <a:pos x="T6" y="T7"/>
                </a:cxn>
                <a:cxn ang="0">
                  <a:pos x="T8" y="T9"/>
                </a:cxn>
                <a:cxn ang="0">
                  <a:pos x="T10" y="T11"/>
                </a:cxn>
              </a:cxnLst>
              <a:rect l="0" t="0" r="r" b="b"/>
              <a:pathLst>
                <a:path w="266" h="26">
                  <a:moveTo>
                    <a:pt x="266" y="0"/>
                  </a:moveTo>
                  <a:lnTo>
                    <a:pt x="266" y="0"/>
                  </a:lnTo>
                  <a:lnTo>
                    <a:pt x="0" y="0"/>
                  </a:lnTo>
                  <a:lnTo>
                    <a:pt x="0" y="26"/>
                  </a:lnTo>
                  <a:lnTo>
                    <a:pt x="266" y="26"/>
                  </a:lnTo>
                  <a:lnTo>
                    <a:pt x="266"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83" name="Freeform 20">
              <a:extLst>
                <a:ext uri="{FF2B5EF4-FFF2-40B4-BE49-F238E27FC236}">
                  <a16:creationId xmlns:a16="http://schemas.microsoft.com/office/drawing/2014/main" id="{1D0F0130-7539-4FD6-ABCC-869D24A17962}"/>
                </a:ext>
              </a:extLst>
            </p:cNvPr>
            <p:cNvSpPr>
              <a:spLocks/>
            </p:cNvSpPr>
            <p:nvPr/>
          </p:nvSpPr>
          <p:spPr bwMode="auto">
            <a:xfrm>
              <a:off x="3842425" y="4592741"/>
              <a:ext cx="1334521" cy="296408"/>
            </a:xfrm>
            <a:custGeom>
              <a:avLst/>
              <a:gdLst>
                <a:gd name="T0" fmla="*/ 266 w 266"/>
                <a:gd name="T1" fmla="*/ 0 h 26"/>
                <a:gd name="T2" fmla="*/ 266 w 266"/>
                <a:gd name="T3" fmla="*/ 0 h 26"/>
                <a:gd name="T4" fmla="*/ 0 w 266"/>
                <a:gd name="T5" fmla="*/ 0 h 26"/>
                <a:gd name="T6" fmla="*/ 0 w 266"/>
                <a:gd name="T7" fmla="*/ 26 h 26"/>
                <a:gd name="T8" fmla="*/ 266 w 266"/>
                <a:gd name="T9" fmla="*/ 26 h 26"/>
                <a:gd name="T10" fmla="*/ 266 w 266"/>
                <a:gd name="T11" fmla="*/ 0 h 26"/>
              </a:gdLst>
              <a:ahLst/>
              <a:cxnLst>
                <a:cxn ang="0">
                  <a:pos x="T0" y="T1"/>
                </a:cxn>
                <a:cxn ang="0">
                  <a:pos x="T2" y="T3"/>
                </a:cxn>
                <a:cxn ang="0">
                  <a:pos x="T4" y="T5"/>
                </a:cxn>
                <a:cxn ang="0">
                  <a:pos x="T6" y="T7"/>
                </a:cxn>
                <a:cxn ang="0">
                  <a:pos x="T8" y="T9"/>
                </a:cxn>
                <a:cxn ang="0">
                  <a:pos x="T10" y="T11"/>
                </a:cxn>
              </a:cxnLst>
              <a:rect l="0" t="0" r="r" b="b"/>
              <a:pathLst>
                <a:path w="266" h="26">
                  <a:moveTo>
                    <a:pt x="266" y="0"/>
                  </a:moveTo>
                  <a:lnTo>
                    <a:pt x="266" y="0"/>
                  </a:lnTo>
                  <a:lnTo>
                    <a:pt x="0" y="0"/>
                  </a:lnTo>
                  <a:lnTo>
                    <a:pt x="0" y="26"/>
                  </a:lnTo>
                  <a:lnTo>
                    <a:pt x="266" y="26"/>
                  </a:lnTo>
                  <a:lnTo>
                    <a:pt x="266"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84" name="Freeform 22">
              <a:extLst>
                <a:ext uri="{FF2B5EF4-FFF2-40B4-BE49-F238E27FC236}">
                  <a16:creationId xmlns:a16="http://schemas.microsoft.com/office/drawing/2014/main" id="{6BE49F8C-1FCE-4599-B668-B50BC0D863C2}"/>
                </a:ext>
              </a:extLst>
            </p:cNvPr>
            <p:cNvSpPr>
              <a:spLocks/>
            </p:cNvSpPr>
            <p:nvPr/>
          </p:nvSpPr>
          <p:spPr bwMode="auto">
            <a:xfrm>
              <a:off x="4847771" y="2740178"/>
              <a:ext cx="720429" cy="314932"/>
            </a:xfrm>
            <a:custGeom>
              <a:avLst/>
              <a:gdLst>
                <a:gd name="T0" fmla="*/ 133 w 133"/>
                <a:gd name="T1" fmla="*/ 0 h 27"/>
                <a:gd name="T2" fmla="*/ 133 w 133"/>
                <a:gd name="T3" fmla="*/ 0 h 27"/>
                <a:gd name="T4" fmla="*/ 0 w 133"/>
                <a:gd name="T5" fmla="*/ 0 h 27"/>
                <a:gd name="T6" fmla="*/ 0 w 133"/>
                <a:gd name="T7" fmla="*/ 27 h 27"/>
                <a:gd name="T8" fmla="*/ 133 w 133"/>
                <a:gd name="T9" fmla="*/ 27 h 27"/>
                <a:gd name="T10" fmla="*/ 133 w 133"/>
                <a:gd name="T11" fmla="*/ 0 h 27"/>
              </a:gdLst>
              <a:ahLst/>
              <a:cxnLst>
                <a:cxn ang="0">
                  <a:pos x="T0" y="T1"/>
                </a:cxn>
                <a:cxn ang="0">
                  <a:pos x="T2" y="T3"/>
                </a:cxn>
                <a:cxn ang="0">
                  <a:pos x="T4" y="T5"/>
                </a:cxn>
                <a:cxn ang="0">
                  <a:pos x="T6" y="T7"/>
                </a:cxn>
                <a:cxn ang="0">
                  <a:pos x="T8" y="T9"/>
                </a:cxn>
                <a:cxn ang="0">
                  <a:pos x="T10" y="T11"/>
                </a:cxn>
              </a:cxnLst>
              <a:rect l="0" t="0" r="r" b="b"/>
              <a:pathLst>
                <a:path w="133" h="27">
                  <a:moveTo>
                    <a:pt x="133" y="0"/>
                  </a:moveTo>
                  <a:lnTo>
                    <a:pt x="133" y="0"/>
                  </a:lnTo>
                  <a:lnTo>
                    <a:pt x="0" y="0"/>
                  </a:lnTo>
                  <a:lnTo>
                    <a:pt x="0" y="27"/>
                  </a:lnTo>
                  <a:lnTo>
                    <a:pt x="133" y="27"/>
                  </a:lnTo>
                  <a:lnTo>
                    <a:pt x="133"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85" name="Freeform 23">
              <a:extLst>
                <a:ext uri="{FF2B5EF4-FFF2-40B4-BE49-F238E27FC236}">
                  <a16:creationId xmlns:a16="http://schemas.microsoft.com/office/drawing/2014/main" id="{BBEB9F68-175E-4E11-A8A6-9072798772CD}"/>
                </a:ext>
              </a:extLst>
            </p:cNvPr>
            <p:cNvSpPr>
              <a:spLocks/>
            </p:cNvSpPr>
            <p:nvPr/>
          </p:nvSpPr>
          <p:spPr bwMode="auto">
            <a:xfrm>
              <a:off x="2511480" y="3370051"/>
              <a:ext cx="1550658" cy="296408"/>
            </a:xfrm>
            <a:custGeom>
              <a:avLst/>
              <a:gdLst>
                <a:gd name="T0" fmla="*/ 266 w 266"/>
                <a:gd name="T1" fmla="*/ 0 h 26"/>
                <a:gd name="T2" fmla="*/ 266 w 266"/>
                <a:gd name="T3" fmla="*/ 0 h 26"/>
                <a:gd name="T4" fmla="*/ 0 w 266"/>
                <a:gd name="T5" fmla="*/ 0 h 26"/>
                <a:gd name="T6" fmla="*/ 0 w 266"/>
                <a:gd name="T7" fmla="*/ 26 h 26"/>
                <a:gd name="T8" fmla="*/ 266 w 266"/>
                <a:gd name="T9" fmla="*/ 26 h 26"/>
                <a:gd name="T10" fmla="*/ 266 w 266"/>
                <a:gd name="T11" fmla="*/ 0 h 26"/>
              </a:gdLst>
              <a:ahLst/>
              <a:cxnLst>
                <a:cxn ang="0">
                  <a:pos x="T0" y="T1"/>
                </a:cxn>
                <a:cxn ang="0">
                  <a:pos x="T2" y="T3"/>
                </a:cxn>
                <a:cxn ang="0">
                  <a:pos x="T4" y="T5"/>
                </a:cxn>
                <a:cxn ang="0">
                  <a:pos x="T6" y="T7"/>
                </a:cxn>
                <a:cxn ang="0">
                  <a:pos x="T8" y="T9"/>
                </a:cxn>
                <a:cxn ang="0">
                  <a:pos x="T10" y="T11"/>
                </a:cxn>
              </a:cxnLst>
              <a:rect l="0" t="0" r="r" b="b"/>
              <a:pathLst>
                <a:path w="266" h="26">
                  <a:moveTo>
                    <a:pt x="266" y="0"/>
                  </a:moveTo>
                  <a:lnTo>
                    <a:pt x="266" y="0"/>
                  </a:lnTo>
                  <a:lnTo>
                    <a:pt x="0" y="0"/>
                  </a:lnTo>
                  <a:lnTo>
                    <a:pt x="0" y="26"/>
                  </a:lnTo>
                  <a:lnTo>
                    <a:pt x="266" y="26"/>
                  </a:lnTo>
                  <a:lnTo>
                    <a:pt x="266"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11" name="Arrow: Chevron 2">
            <a:extLst>
              <a:ext uri="{FF2B5EF4-FFF2-40B4-BE49-F238E27FC236}">
                <a16:creationId xmlns:a16="http://schemas.microsoft.com/office/drawing/2014/main" id="{2DE092E1-1F21-43BC-A650-C17D55A2C421}"/>
              </a:ext>
            </a:extLst>
          </p:cNvPr>
          <p:cNvSpPr/>
          <p:nvPr/>
        </p:nvSpPr>
        <p:spPr bwMode="auto">
          <a:xfrm>
            <a:off x="9865955" y="2537807"/>
            <a:ext cx="303092" cy="2034386"/>
          </a:xfrm>
          <a:custGeom>
            <a:avLst/>
            <a:gdLst>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5" fmla="*/ 641382 w 886990"/>
              <a:gd name="connsiteY5" fmla="*/ 1305351 h 2610702"/>
              <a:gd name="connsiteX6" fmla="*/ 0 w 886990"/>
              <a:gd name="connsiteY6" fmla="*/ 0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6" fmla="*/ 732822 w 886990"/>
              <a:gd name="connsiteY6" fmla="*/ 1396791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0" fmla="*/ 0 w 641382"/>
              <a:gd name="connsiteY0" fmla="*/ 0 h 2610702"/>
              <a:gd name="connsiteX1" fmla="*/ 641382 w 641382"/>
              <a:gd name="connsiteY1" fmla="*/ 1305351 h 2610702"/>
              <a:gd name="connsiteX2" fmla="*/ 0 w 641382"/>
              <a:gd name="connsiteY2" fmla="*/ 2610702 h 2610702"/>
            </a:gdLst>
            <a:ahLst/>
            <a:cxnLst>
              <a:cxn ang="0">
                <a:pos x="connsiteX0" y="connsiteY0"/>
              </a:cxn>
              <a:cxn ang="0">
                <a:pos x="connsiteX1" y="connsiteY1"/>
              </a:cxn>
              <a:cxn ang="0">
                <a:pos x="connsiteX2" y="connsiteY2"/>
              </a:cxn>
            </a:cxnLst>
            <a:rect l="l" t="t" r="r" b="b"/>
            <a:pathLst>
              <a:path w="641382" h="2610702">
                <a:moveTo>
                  <a:pt x="0" y="0"/>
                </a:moveTo>
                <a:lnTo>
                  <a:pt x="641382" y="1305351"/>
                </a:lnTo>
                <a:lnTo>
                  <a:pt x="0" y="2610702"/>
                </a:lnTo>
              </a:path>
            </a:pathLst>
          </a:custGeom>
          <a:no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grpSp>
        <p:nvGrpSpPr>
          <p:cNvPr id="9" name="Group 8">
            <a:extLst>
              <a:ext uri="{FF2B5EF4-FFF2-40B4-BE49-F238E27FC236}">
                <a16:creationId xmlns:a16="http://schemas.microsoft.com/office/drawing/2014/main" id="{D288D44F-B682-4E1E-B455-BFD4FABB4559}"/>
              </a:ext>
            </a:extLst>
          </p:cNvPr>
          <p:cNvGrpSpPr/>
          <p:nvPr/>
        </p:nvGrpSpPr>
        <p:grpSpPr>
          <a:xfrm>
            <a:off x="3774717" y="2822657"/>
            <a:ext cx="378713" cy="482103"/>
            <a:chOff x="3807569" y="3190150"/>
            <a:chExt cx="378713" cy="482103"/>
          </a:xfrm>
        </p:grpSpPr>
        <p:sp>
          <p:nvSpPr>
            <p:cNvPr id="147" name="Freeform: Shape 146">
              <a:extLst>
                <a:ext uri="{FF2B5EF4-FFF2-40B4-BE49-F238E27FC236}">
                  <a16:creationId xmlns:a16="http://schemas.microsoft.com/office/drawing/2014/main" id="{E05D076E-918C-43B1-AF1B-9B77BCAA28AC}"/>
                </a:ext>
              </a:extLst>
            </p:cNvPr>
            <p:cNvSpPr/>
            <p:nvPr/>
          </p:nvSpPr>
          <p:spPr bwMode="auto">
            <a:xfrm>
              <a:off x="3807569" y="3192559"/>
              <a:ext cx="377064" cy="479694"/>
            </a:xfrm>
            <a:custGeom>
              <a:avLst/>
              <a:gdLst>
                <a:gd name="connsiteX0" fmla="*/ 0 w 612476"/>
                <a:gd name="connsiteY0" fmla="*/ 0 h 779184"/>
                <a:gd name="connsiteX1" fmla="*/ 445383 w 612476"/>
                <a:gd name="connsiteY1" fmla="*/ 0 h 779184"/>
                <a:gd name="connsiteX2" fmla="*/ 612476 w 612476"/>
                <a:gd name="connsiteY2" fmla="*/ 155037 h 779184"/>
                <a:gd name="connsiteX3" fmla="*/ 612476 w 612476"/>
                <a:gd name="connsiteY3" fmla="*/ 779184 h 779184"/>
                <a:gd name="connsiteX4" fmla="*/ 0 w 612476"/>
                <a:gd name="connsiteY4" fmla="*/ 779184 h 779184"/>
                <a:gd name="connsiteX5" fmla="*/ 0 w 612476"/>
                <a:gd name="connsiteY5" fmla="*/ 0 h 779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2476" h="779184">
                  <a:moveTo>
                    <a:pt x="0" y="0"/>
                  </a:moveTo>
                  <a:lnTo>
                    <a:pt x="445383" y="0"/>
                  </a:lnTo>
                  <a:lnTo>
                    <a:pt x="612476" y="155037"/>
                  </a:lnTo>
                  <a:lnTo>
                    <a:pt x="612476" y="779184"/>
                  </a:lnTo>
                  <a:lnTo>
                    <a:pt x="0" y="779184"/>
                  </a:lnTo>
                  <a:lnTo>
                    <a:pt x="0" y="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8" name="Group 147">
              <a:extLst>
                <a:ext uri="{FF2B5EF4-FFF2-40B4-BE49-F238E27FC236}">
                  <a16:creationId xmlns:a16="http://schemas.microsoft.com/office/drawing/2014/main" id="{B53D076D-3933-4F25-A1D5-444A7C4C7377}"/>
                </a:ext>
              </a:extLst>
            </p:cNvPr>
            <p:cNvGrpSpPr/>
            <p:nvPr/>
          </p:nvGrpSpPr>
          <p:grpSpPr>
            <a:xfrm>
              <a:off x="3859484" y="3287872"/>
              <a:ext cx="263297" cy="327098"/>
              <a:chOff x="5389394" y="4600627"/>
              <a:chExt cx="247650" cy="355600"/>
            </a:xfrm>
            <a:solidFill>
              <a:schemeClr val="accent1"/>
            </a:solidFill>
          </p:grpSpPr>
          <p:sp>
            <p:nvSpPr>
              <p:cNvPr id="150" name="Rectangle 224">
                <a:extLst>
                  <a:ext uri="{FF2B5EF4-FFF2-40B4-BE49-F238E27FC236}">
                    <a16:creationId xmlns:a16="http://schemas.microsoft.com/office/drawing/2014/main" id="{659338F0-90D5-41D3-BFC0-6C2D3F027B15}"/>
                  </a:ext>
                </a:extLst>
              </p:cNvPr>
              <p:cNvSpPr>
                <a:spLocks noChangeArrowheads="1"/>
              </p:cNvSpPr>
              <p:nvPr/>
            </p:nvSpPr>
            <p:spPr bwMode="auto">
              <a:xfrm>
                <a:off x="5389394" y="4910189"/>
                <a:ext cx="2476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1" name="Rectangle 225">
                <a:extLst>
                  <a:ext uri="{FF2B5EF4-FFF2-40B4-BE49-F238E27FC236}">
                    <a16:creationId xmlns:a16="http://schemas.microsoft.com/office/drawing/2014/main" id="{B6F77568-8B71-454C-9335-0D7227CF0A87}"/>
                  </a:ext>
                </a:extLst>
              </p:cNvPr>
              <p:cNvSpPr>
                <a:spLocks noChangeArrowheads="1"/>
              </p:cNvSpPr>
              <p:nvPr/>
            </p:nvSpPr>
            <p:spPr bwMode="auto">
              <a:xfrm>
                <a:off x="5389394" y="4832402"/>
                <a:ext cx="2476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2" name="Rectangle 226">
                <a:extLst>
                  <a:ext uri="{FF2B5EF4-FFF2-40B4-BE49-F238E27FC236}">
                    <a16:creationId xmlns:a16="http://schemas.microsoft.com/office/drawing/2014/main" id="{0BE95F2F-C3E8-4C71-8A7B-65144D2F06CD}"/>
                  </a:ext>
                </a:extLst>
              </p:cNvPr>
              <p:cNvSpPr>
                <a:spLocks noChangeArrowheads="1"/>
              </p:cNvSpPr>
              <p:nvPr/>
            </p:nvSpPr>
            <p:spPr bwMode="auto">
              <a:xfrm>
                <a:off x="5389394" y="4754614"/>
                <a:ext cx="24765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3" name="Rectangle 227">
                <a:extLst>
                  <a:ext uri="{FF2B5EF4-FFF2-40B4-BE49-F238E27FC236}">
                    <a16:creationId xmlns:a16="http://schemas.microsoft.com/office/drawing/2014/main" id="{52FB6E7B-A3F7-4459-8F4E-213F55E73A10}"/>
                  </a:ext>
                </a:extLst>
              </p:cNvPr>
              <p:cNvSpPr>
                <a:spLocks noChangeArrowheads="1"/>
              </p:cNvSpPr>
              <p:nvPr/>
            </p:nvSpPr>
            <p:spPr bwMode="auto">
              <a:xfrm>
                <a:off x="5389394" y="4678414"/>
                <a:ext cx="2476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4" name="Rectangle 228">
                <a:extLst>
                  <a:ext uri="{FF2B5EF4-FFF2-40B4-BE49-F238E27FC236}">
                    <a16:creationId xmlns:a16="http://schemas.microsoft.com/office/drawing/2014/main" id="{9CAA1867-5C30-4C51-A015-FC33B8C64FDF}"/>
                  </a:ext>
                </a:extLst>
              </p:cNvPr>
              <p:cNvSpPr>
                <a:spLocks noChangeArrowheads="1"/>
              </p:cNvSpPr>
              <p:nvPr/>
            </p:nvSpPr>
            <p:spPr bwMode="auto">
              <a:xfrm>
                <a:off x="5389394" y="4600627"/>
                <a:ext cx="13970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49" name="Rectangle 69">
              <a:extLst>
                <a:ext uri="{FF2B5EF4-FFF2-40B4-BE49-F238E27FC236}">
                  <a16:creationId xmlns:a16="http://schemas.microsoft.com/office/drawing/2014/main" id="{A0F4F7B1-5B1D-47E7-9E5D-15BF32A713A1}"/>
                </a:ext>
              </a:extLst>
            </p:cNvPr>
            <p:cNvSpPr/>
            <p:nvPr/>
          </p:nvSpPr>
          <p:spPr bwMode="auto">
            <a:xfrm>
              <a:off x="4080962" y="3190150"/>
              <a:ext cx="105320" cy="97721"/>
            </a:xfrm>
            <a:custGeom>
              <a:avLst/>
              <a:gdLst>
                <a:gd name="connsiteX0" fmla="*/ 0 w 167094"/>
                <a:gd name="connsiteY0" fmla="*/ 0 h 155038"/>
                <a:gd name="connsiteX1" fmla="*/ 167094 w 167094"/>
                <a:gd name="connsiteY1" fmla="*/ 0 h 155038"/>
                <a:gd name="connsiteX2" fmla="*/ 167094 w 167094"/>
                <a:gd name="connsiteY2" fmla="*/ 155038 h 155038"/>
                <a:gd name="connsiteX3" fmla="*/ 0 w 167094"/>
                <a:gd name="connsiteY3" fmla="*/ 155038 h 155038"/>
                <a:gd name="connsiteX4" fmla="*/ 0 w 167094"/>
                <a:gd name="connsiteY4" fmla="*/ 0 h 155038"/>
                <a:gd name="connsiteX0" fmla="*/ 0 w 167094"/>
                <a:gd name="connsiteY0" fmla="*/ 0 h 155038"/>
                <a:gd name="connsiteX1" fmla="*/ 167094 w 167094"/>
                <a:gd name="connsiteY1" fmla="*/ 155038 h 155038"/>
                <a:gd name="connsiteX2" fmla="*/ 0 w 167094"/>
                <a:gd name="connsiteY2" fmla="*/ 155038 h 155038"/>
                <a:gd name="connsiteX3" fmla="*/ 0 w 167094"/>
                <a:gd name="connsiteY3" fmla="*/ 0 h 155038"/>
              </a:gdLst>
              <a:ahLst/>
              <a:cxnLst>
                <a:cxn ang="0">
                  <a:pos x="connsiteX0" y="connsiteY0"/>
                </a:cxn>
                <a:cxn ang="0">
                  <a:pos x="connsiteX1" y="connsiteY1"/>
                </a:cxn>
                <a:cxn ang="0">
                  <a:pos x="connsiteX2" y="connsiteY2"/>
                </a:cxn>
                <a:cxn ang="0">
                  <a:pos x="connsiteX3" y="connsiteY3"/>
                </a:cxn>
              </a:cxnLst>
              <a:rect l="l" t="t" r="r" b="b"/>
              <a:pathLst>
                <a:path w="167094" h="155038">
                  <a:moveTo>
                    <a:pt x="0" y="0"/>
                  </a:moveTo>
                  <a:lnTo>
                    <a:pt x="167094" y="155038"/>
                  </a:lnTo>
                  <a:lnTo>
                    <a:pt x="0" y="155038"/>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5" name="Group 154">
              <a:extLst>
                <a:ext uri="{FF2B5EF4-FFF2-40B4-BE49-F238E27FC236}">
                  <a16:creationId xmlns:a16="http://schemas.microsoft.com/office/drawing/2014/main" id="{69A6DB72-13D7-4810-BC43-BC8DC15A3649}"/>
                </a:ext>
              </a:extLst>
            </p:cNvPr>
            <p:cNvGrpSpPr/>
            <p:nvPr/>
          </p:nvGrpSpPr>
          <p:grpSpPr>
            <a:xfrm>
              <a:off x="3858947" y="3359424"/>
              <a:ext cx="263297" cy="255546"/>
              <a:chOff x="5389394" y="4674749"/>
              <a:chExt cx="247650" cy="281478"/>
            </a:xfrm>
            <a:solidFill>
              <a:schemeClr val="accent2"/>
            </a:solidFill>
          </p:grpSpPr>
          <p:sp>
            <p:nvSpPr>
              <p:cNvPr id="156" name="Rectangle 224">
                <a:extLst>
                  <a:ext uri="{FF2B5EF4-FFF2-40B4-BE49-F238E27FC236}">
                    <a16:creationId xmlns:a16="http://schemas.microsoft.com/office/drawing/2014/main" id="{FB0C186C-1BD9-4145-855C-DA42623E3A4F}"/>
                  </a:ext>
                </a:extLst>
              </p:cNvPr>
              <p:cNvSpPr>
                <a:spLocks noChangeArrowheads="1"/>
              </p:cNvSpPr>
              <p:nvPr/>
            </p:nvSpPr>
            <p:spPr bwMode="auto">
              <a:xfrm>
                <a:off x="5456533" y="4905861"/>
                <a:ext cx="180511" cy="503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8" name="Rectangle 226">
                <a:extLst>
                  <a:ext uri="{FF2B5EF4-FFF2-40B4-BE49-F238E27FC236}">
                    <a16:creationId xmlns:a16="http://schemas.microsoft.com/office/drawing/2014/main" id="{D74A5855-C3B4-4FF7-B92E-A223345F9625}"/>
                  </a:ext>
                </a:extLst>
              </p:cNvPr>
              <p:cNvSpPr>
                <a:spLocks noChangeArrowheads="1"/>
              </p:cNvSpPr>
              <p:nvPr/>
            </p:nvSpPr>
            <p:spPr bwMode="auto">
              <a:xfrm>
                <a:off x="5389394" y="4750026"/>
                <a:ext cx="123825" cy="497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9" name="Rectangle 227">
                <a:extLst>
                  <a:ext uri="{FF2B5EF4-FFF2-40B4-BE49-F238E27FC236}">
                    <a16:creationId xmlns:a16="http://schemas.microsoft.com/office/drawing/2014/main" id="{0214D782-9B50-4998-AA8E-BEC3848F24F6}"/>
                  </a:ext>
                </a:extLst>
              </p:cNvPr>
              <p:cNvSpPr>
                <a:spLocks noChangeArrowheads="1"/>
              </p:cNvSpPr>
              <p:nvPr/>
            </p:nvSpPr>
            <p:spPr bwMode="auto">
              <a:xfrm>
                <a:off x="5559378" y="4674749"/>
                <a:ext cx="77666" cy="497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12" name="Group 11">
            <a:extLst>
              <a:ext uri="{FF2B5EF4-FFF2-40B4-BE49-F238E27FC236}">
                <a16:creationId xmlns:a16="http://schemas.microsoft.com/office/drawing/2014/main" id="{6C0F4F44-BF57-436E-AE0F-CD79C87A80AA}"/>
              </a:ext>
            </a:extLst>
          </p:cNvPr>
          <p:cNvGrpSpPr/>
          <p:nvPr/>
        </p:nvGrpSpPr>
        <p:grpSpPr>
          <a:xfrm>
            <a:off x="10455635" y="3155151"/>
            <a:ext cx="1066260" cy="799698"/>
            <a:chOff x="9546778" y="4129796"/>
            <a:chExt cx="568772" cy="426580"/>
          </a:xfrm>
        </p:grpSpPr>
        <p:grpSp>
          <p:nvGrpSpPr>
            <p:cNvPr id="170" name="Group 400">
              <a:extLst>
                <a:ext uri="{FF2B5EF4-FFF2-40B4-BE49-F238E27FC236}">
                  <a16:creationId xmlns:a16="http://schemas.microsoft.com/office/drawing/2014/main" id="{31F9983D-17BA-44F1-B5EB-D8A52F0CB02E}"/>
                </a:ext>
              </a:extLst>
            </p:cNvPr>
            <p:cNvGrpSpPr>
              <a:grpSpLocks noChangeAspect="1"/>
            </p:cNvGrpSpPr>
            <p:nvPr/>
          </p:nvGrpSpPr>
          <p:grpSpPr bwMode="auto">
            <a:xfrm>
              <a:off x="9546778" y="4129796"/>
              <a:ext cx="568772" cy="426580"/>
              <a:chOff x="1614" y="3604"/>
              <a:chExt cx="312" cy="234"/>
            </a:xfrm>
          </p:grpSpPr>
          <p:sp>
            <p:nvSpPr>
              <p:cNvPr id="171" name="AutoShape 399">
                <a:extLst>
                  <a:ext uri="{FF2B5EF4-FFF2-40B4-BE49-F238E27FC236}">
                    <a16:creationId xmlns:a16="http://schemas.microsoft.com/office/drawing/2014/main" id="{CA441A9B-2A51-48F9-A961-0EB4AEDFC8FC}"/>
                  </a:ext>
                </a:extLst>
              </p:cNvPr>
              <p:cNvSpPr>
                <a:spLocks noChangeAspect="1" noChangeArrowheads="1" noTextEdit="1"/>
              </p:cNvSpPr>
              <p:nvPr/>
            </p:nvSpPr>
            <p:spPr bwMode="auto">
              <a:xfrm>
                <a:off x="1614" y="3604"/>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2" name="Rectangle 401">
                <a:extLst>
                  <a:ext uri="{FF2B5EF4-FFF2-40B4-BE49-F238E27FC236}">
                    <a16:creationId xmlns:a16="http://schemas.microsoft.com/office/drawing/2014/main" id="{A9EEC6ED-1FE4-4B96-A62C-BB05DA41ED66}"/>
                  </a:ext>
                </a:extLst>
              </p:cNvPr>
              <p:cNvSpPr>
                <a:spLocks noChangeArrowheads="1"/>
              </p:cNvSpPr>
              <p:nvPr/>
            </p:nvSpPr>
            <p:spPr bwMode="auto">
              <a:xfrm>
                <a:off x="1614" y="3604"/>
                <a:ext cx="312"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3" name="Rectangle 402">
                <a:extLst>
                  <a:ext uri="{FF2B5EF4-FFF2-40B4-BE49-F238E27FC236}">
                    <a16:creationId xmlns:a16="http://schemas.microsoft.com/office/drawing/2014/main" id="{168DD9FD-7D69-4BBA-973A-B77EC0D7E588}"/>
                  </a:ext>
                </a:extLst>
              </p:cNvPr>
              <p:cNvSpPr>
                <a:spLocks noChangeArrowheads="1"/>
              </p:cNvSpPr>
              <p:nvPr/>
            </p:nvSpPr>
            <p:spPr bwMode="auto">
              <a:xfrm>
                <a:off x="1614" y="3633"/>
                <a:ext cx="312" cy="20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4" name="Oval 403">
                <a:extLst>
                  <a:ext uri="{FF2B5EF4-FFF2-40B4-BE49-F238E27FC236}">
                    <a16:creationId xmlns:a16="http://schemas.microsoft.com/office/drawing/2014/main" id="{3F654222-2C10-47B8-9D0C-D7DA04050D04}"/>
                  </a:ext>
                </a:extLst>
              </p:cNvPr>
              <p:cNvSpPr>
                <a:spLocks noChangeArrowheads="1"/>
              </p:cNvSpPr>
              <p:nvPr/>
            </p:nvSpPr>
            <p:spPr bwMode="auto">
              <a:xfrm>
                <a:off x="1624" y="3614"/>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5" name="Oval 404">
                <a:extLst>
                  <a:ext uri="{FF2B5EF4-FFF2-40B4-BE49-F238E27FC236}">
                    <a16:creationId xmlns:a16="http://schemas.microsoft.com/office/drawing/2014/main" id="{1A0D8B11-0957-45C2-A020-31DAD0127CB1}"/>
                  </a:ext>
                </a:extLst>
              </p:cNvPr>
              <p:cNvSpPr>
                <a:spLocks noChangeArrowheads="1"/>
              </p:cNvSpPr>
              <p:nvPr/>
            </p:nvSpPr>
            <p:spPr bwMode="auto">
              <a:xfrm>
                <a:off x="1638" y="3614"/>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6" name="Oval 405">
                <a:extLst>
                  <a:ext uri="{FF2B5EF4-FFF2-40B4-BE49-F238E27FC236}">
                    <a16:creationId xmlns:a16="http://schemas.microsoft.com/office/drawing/2014/main" id="{6F345C98-B008-4BE6-A0BF-EA5C2E8DC9D4}"/>
                  </a:ext>
                </a:extLst>
              </p:cNvPr>
              <p:cNvSpPr>
                <a:spLocks noChangeArrowheads="1"/>
              </p:cNvSpPr>
              <p:nvPr/>
            </p:nvSpPr>
            <p:spPr bwMode="auto">
              <a:xfrm>
                <a:off x="1653" y="3614"/>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06" name="Freeform 220">
              <a:extLst>
                <a:ext uri="{FF2B5EF4-FFF2-40B4-BE49-F238E27FC236}">
                  <a16:creationId xmlns:a16="http://schemas.microsoft.com/office/drawing/2014/main" id="{FF086549-8A85-4AE2-BEE0-54A7F55ABB48}"/>
                </a:ext>
              </a:extLst>
            </p:cNvPr>
            <p:cNvSpPr/>
            <p:nvPr/>
          </p:nvSpPr>
          <p:spPr bwMode="auto">
            <a:xfrm>
              <a:off x="9682083" y="4220438"/>
              <a:ext cx="298162" cy="298162"/>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grpSp>
      <p:sp>
        <p:nvSpPr>
          <p:cNvPr id="184" name="Arrow: Chevron 2">
            <a:extLst>
              <a:ext uri="{FF2B5EF4-FFF2-40B4-BE49-F238E27FC236}">
                <a16:creationId xmlns:a16="http://schemas.microsoft.com/office/drawing/2014/main" id="{101BDB90-5E71-40B1-BF58-851CA25E3CEA}"/>
              </a:ext>
            </a:extLst>
          </p:cNvPr>
          <p:cNvSpPr/>
          <p:nvPr/>
        </p:nvSpPr>
        <p:spPr bwMode="auto">
          <a:xfrm>
            <a:off x="2160543" y="2537807"/>
            <a:ext cx="303092" cy="2034386"/>
          </a:xfrm>
          <a:custGeom>
            <a:avLst/>
            <a:gdLst>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5" fmla="*/ 641382 w 886990"/>
              <a:gd name="connsiteY5" fmla="*/ 1305351 h 2610702"/>
              <a:gd name="connsiteX6" fmla="*/ 0 w 886990"/>
              <a:gd name="connsiteY6" fmla="*/ 0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6" fmla="*/ 732822 w 886990"/>
              <a:gd name="connsiteY6" fmla="*/ 1396791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0" fmla="*/ 0 w 641382"/>
              <a:gd name="connsiteY0" fmla="*/ 0 h 2610702"/>
              <a:gd name="connsiteX1" fmla="*/ 641382 w 641382"/>
              <a:gd name="connsiteY1" fmla="*/ 1305351 h 2610702"/>
              <a:gd name="connsiteX2" fmla="*/ 0 w 641382"/>
              <a:gd name="connsiteY2" fmla="*/ 2610702 h 2610702"/>
            </a:gdLst>
            <a:ahLst/>
            <a:cxnLst>
              <a:cxn ang="0">
                <a:pos x="connsiteX0" y="connsiteY0"/>
              </a:cxn>
              <a:cxn ang="0">
                <a:pos x="connsiteX1" y="connsiteY1"/>
              </a:cxn>
              <a:cxn ang="0">
                <a:pos x="connsiteX2" y="connsiteY2"/>
              </a:cxn>
            </a:cxnLst>
            <a:rect l="l" t="t" r="r" b="b"/>
            <a:pathLst>
              <a:path w="641382" h="2610702">
                <a:moveTo>
                  <a:pt x="0" y="0"/>
                </a:moveTo>
                <a:lnTo>
                  <a:pt x="641382" y="1305351"/>
                </a:lnTo>
                <a:lnTo>
                  <a:pt x="0" y="2610702"/>
                </a:lnTo>
              </a:path>
            </a:pathLst>
          </a:custGeom>
          <a:noFill/>
          <a:ln w="1905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grpSp>
        <p:nvGrpSpPr>
          <p:cNvPr id="16" name="Group 15">
            <a:extLst>
              <a:ext uri="{FF2B5EF4-FFF2-40B4-BE49-F238E27FC236}">
                <a16:creationId xmlns:a16="http://schemas.microsoft.com/office/drawing/2014/main" id="{CD97B458-E6F0-4761-982E-8CF87C760D0E}"/>
              </a:ext>
            </a:extLst>
          </p:cNvPr>
          <p:cNvGrpSpPr/>
          <p:nvPr/>
        </p:nvGrpSpPr>
        <p:grpSpPr>
          <a:xfrm>
            <a:off x="7175835" y="2836538"/>
            <a:ext cx="318867" cy="393699"/>
            <a:chOff x="7839663" y="3059688"/>
            <a:chExt cx="318867" cy="393699"/>
          </a:xfrm>
        </p:grpSpPr>
        <p:sp>
          <p:nvSpPr>
            <p:cNvPr id="190" name="Freeform: Shape 189">
              <a:extLst>
                <a:ext uri="{FF2B5EF4-FFF2-40B4-BE49-F238E27FC236}">
                  <a16:creationId xmlns:a16="http://schemas.microsoft.com/office/drawing/2014/main" id="{35C88803-9B61-40C7-977B-BCB3A1334BFF}"/>
                </a:ext>
              </a:extLst>
            </p:cNvPr>
            <p:cNvSpPr>
              <a:spLocks/>
            </p:cNvSpPr>
            <p:nvPr/>
          </p:nvSpPr>
          <p:spPr bwMode="auto">
            <a:xfrm>
              <a:off x="7897496" y="3059688"/>
              <a:ext cx="203201" cy="341313"/>
            </a:xfrm>
            <a:custGeom>
              <a:avLst/>
              <a:gdLst>
                <a:gd name="connsiteX0" fmla="*/ 85818 w 203201"/>
                <a:gd name="connsiteY0" fmla="*/ 0 h 341313"/>
                <a:gd name="connsiteX1" fmla="*/ 117384 w 203201"/>
                <a:gd name="connsiteY1" fmla="*/ 0 h 341313"/>
                <a:gd name="connsiteX2" fmla="*/ 203201 w 203201"/>
                <a:gd name="connsiteY2" fmla="*/ 341313 h 341313"/>
                <a:gd name="connsiteX3" fmla="*/ 0 w 203201"/>
                <a:gd name="connsiteY3" fmla="*/ 341313 h 341313"/>
                <a:gd name="connsiteX4" fmla="*/ 19728 w 203201"/>
                <a:gd name="connsiteY4" fmla="*/ 262624 h 341313"/>
                <a:gd name="connsiteX5" fmla="*/ 157826 w 203201"/>
                <a:gd name="connsiteY5" fmla="*/ 262624 h 341313"/>
                <a:gd name="connsiteX6" fmla="*/ 150921 w 203201"/>
                <a:gd name="connsiteY6" fmla="*/ 236067 h 341313"/>
                <a:gd name="connsiteX7" fmla="*/ 26633 w 203201"/>
                <a:gd name="connsiteY7" fmla="*/ 236067 h 341313"/>
                <a:gd name="connsiteX8" fmla="*/ 39457 w 203201"/>
                <a:gd name="connsiteY8" fmla="*/ 183935 h 341313"/>
                <a:gd name="connsiteX9" fmla="*/ 138098 w 203201"/>
                <a:gd name="connsiteY9" fmla="*/ 183935 h 341313"/>
                <a:gd name="connsiteX10" fmla="*/ 131193 w 203201"/>
                <a:gd name="connsiteY10" fmla="*/ 157378 h 341313"/>
                <a:gd name="connsiteX11" fmla="*/ 46362 w 203201"/>
                <a:gd name="connsiteY11" fmla="*/ 157378 h 341313"/>
                <a:gd name="connsiteX12" fmla="*/ 85818 w 203201"/>
                <a:gd name="connsiteY12" fmla="*/ 0 h 341313"/>
                <a:gd name="connsiteX0" fmla="*/ 85818 w 203201"/>
                <a:gd name="connsiteY0" fmla="*/ 0 h 341313"/>
                <a:gd name="connsiteX1" fmla="*/ 117384 w 203201"/>
                <a:gd name="connsiteY1" fmla="*/ 0 h 341313"/>
                <a:gd name="connsiteX2" fmla="*/ 203201 w 203201"/>
                <a:gd name="connsiteY2" fmla="*/ 341313 h 341313"/>
                <a:gd name="connsiteX3" fmla="*/ 0 w 203201"/>
                <a:gd name="connsiteY3" fmla="*/ 341313 h 341313"/>
                <a:gd name="connsiteX4" fmla="*/ 19728 w 203201"/>
                <a:gd name="connsiteY4" fmla="*/ 262624 h 341313"/>
                <a:gd name="connsiteX5" fmla="*/ 150921 w 203201"/>
                <a:gd name="connsiteY5" fmla="*/ 236067 h 341313"/>
                <a:gd name="connsiteX6" fmla="*/ 26633 w 203201"/>
                <a:gd name="connsiteY6" fmla="*/ 236067 h 341313"/>
                <a:gd name="connsiteX7" fmla="*/ 39457 w 203201"/>
                <a:gd name="connsiteY7" fmla="*/ 183935 h 341313"/>
                <a:gd name="connsiteX8" fmla="*/ 138098 w 203201"/>
                <a:gd name="connsiteY8" fmla="*/ 183935 h 341313"/>
                <a:gd name="connsiteX9" fmla="*/ 131193 w 203201"/>
                <a:gd name="connsiteY9" fmla="*/ 157378 h 341313"/>
                <a:gd name="connsiteX10" fmla="*/ 46362 w 203201"/>
                <a:gd name="connsiteY10" fmla="*/ 157378 h 341313"/>
                <a:gd name="connsiteX11" fmla="*/ 85818 w 203201"/>
                <a:gd name="connsiteY11" fmla="*/ 0 h 341313"/>
                <a:gd name="connsiteX0" fmla="*/ 85818 w 203201"/>
                <a:gd name="connsiteY0" fmla="*/ 0 h 341313"/>
                <a:gd name="connsiteX1" fmla="*/ 117384 w 203201"/>
                <a:gd name="connsiteY1" fmla="*/ 0 h 341313"/>
                <a:gd name="connsiteX2" fmla="*/ 203201 w 203201"/>
                <a:gd name="connsiteY2" fmla="*/ 341313 h 341313"/>
                <a:gd name="connsiteX3" fmla="*/ 0 w 203201"/>
                <a:gd name="connsiteY3" fmla="*/ 341313 h 341313"/>
                <a:gd name="connsiteX4" fmla="*/ 19728 w 203201"/>
                <a:gd name="connsiteY4" fmla="*/ 262624 h 341313"/>
                <a:gd name="connsiteX5" fmla="*/ 26633 w 203201"/>
                <a:gd name="connsiteY5" fmla="*/ 236067 h 341313"/>
                <a:gd name="connsiteX6" fmla="*/ 39457 w 203201"/>
                <a:gd name="connsiteY6" fmla="*/ 183935 h 341313"/>
                <a:gd name="connsiteX7" fmla="*/ 138098 w 203201"/>
                <a:gd name="connsiteY7" fmla="*/ 183935 h 341313"/>
                <a:gd name="connsiteX8" fmla="*/ 131193 w 203201"/>
                <a:gd name="connsiteY8" fmla="*/ 157378 h 341313"/>
                <a:gd name="connsiteX9" fmla="*/ 46362 w 203201"/>
                <a:gd name="connsiteY9" fmla="*/ 157378 h 341313"/>
                <a:gd name="connsiteX10" fmla="*/ 85818 w 203201"/>
                <a:gd name="connsiteY10" fmla="*/ 0 h 341313"/>
                <a:gd name="connsiteX0" fmla="*/ 85818 w 203201"/>
                <a:gd name="connsiteY0" fmla="*/ 0 h 341313"/>
                <a:gd name="connsiteX1" fmla="*/ 117384 w 203201"/>
                <a:gd name="connsiteY1" fmla="*/ 0 h 341313"/>
                <a:gd name="connsiteX2" fmla="*/ 203201 w 203201"/>
                <a:gd name="connsiteY2" fmla="*/ 341313 h 341313"/>
                <a:gd name="connsiteX3" fmla="*/ 0 w 203201"/>
                <a:gd name="connsiteY3" fmla="*/ 341313 h 341313"/>
                <a:gd name="connsiteX4" fmla="*/ 19728 w 203201"/>
                <a:gd name="connsiteY4" fmla="*/ 262624 h 341313"/>
                <a:gd name="connsiteX5" fmla="*/ 26633 w 203201"/>
                <a:gd name="connsiteY5" fmla="*/ 236067 h 341313"/>
                <a:gd name="connsiteX6" fmla="*/ 39457 w 203201"/>
                <a:gd name="connsiteY6" fmla="*/ 183935 h 341313"/>
                <a:gd name="connsiteX7" fmla="*/ 131193 w 203201"/>
                <a:gd name="connsiteY7" fmla="*/ 157378 h 341313"/>
                <a:gd name="connsiteX8" fmla="*/ 46362 w 203201"/>
                <a:gd name="connsiteY8" fmla="*/ 157378 h 341313"/>
                <a:gd name="connsiteX9" fmla="*/ 85818 w 203201"/>
                <a:gd name="connsiteY9" fmla="*/ 0 h 341313"/>
                <a:gd name="connsiteX0" fmla="*/ 85818 w 203201"/>
                <a:gd name="connsiteY0" fmla="*/ 0 h 341313"/>
                <a:gd name="connsiteX1" fmla="*/ 117384 w 203201"/>
                <a:gd name="connsiteY1" fmla="*/ 0 h 341313"/>
                <a:gd name="connsiteX2" fmla="*/ 203201 w 203201"/>
                <a:gd name="connsiteY2" fmla="*/ 341313 h 341313"/>
                <a:gd name="connsiteX3" fmla="*/ 0 w 203201"/>
                <a:gd name="connsiteY3" fmla="*/ 341313 h 341313"/>
                <a:gd name="connsiteX4" fmla="*/ 19728 w 203201"/>
                <a:gd name="connsiteY4" fmla="*/ 262624 h 341313"/>
                <a:gd name="connsiteX5" fmla="*/ 26633 w 203201"/>
                <a:gd name="connsiteY5" fmla="*/ 236067 h 341313"/>
                <a:gd name="connsiteX6" fmla="*/ 39457 w 203201"/>
                <a:gd name="connsiteY6" fmla="*/ 183935 h 341313"/>
                <a:gd name="connsiteX7" fmla="*/ 46362 w 203201"/>
                <a:gd name="connsiteY7" fmla="*/ 157378 h 341313"/>
                <a:gd name="connsiteX8" fmla="*/ 85818 w 203201"/>
                <a:gd name="connsiteY8" fmla="*/ 0 h 341313"/>
                <a:gd name="connsiteX0" fmla="*/ 85818 w 203201"/>
                <a:gd name="connsiteY0" fmla="*/ 0 h 341313"/>
                <a:gd name="connsiteX1" fmla="*/ 117384 w 203201"/>
                <a:gd name="connsiteY1" fmla="*/ 0 h 341313"/>
                <a:gd name="connsiteX2" fmla="*/ 203201 w 203201"/>
                <a:gd name="connsiteY2" fmla="*/ 341313 h 341313"/>
                <a:gd name="connsiteX3" fmla="*/ 0 w 203201"/>
                <a:gd name="connsiteY3" fmla="*/ 341313 h 341313"/>
                <a:gd name="connsiteX4" fmla="*/ 19728 w 203201"/>
                <a:gd name="connsiteY4" fmla="*/ 262624 h 341313"/>
                <a:gd name="connsiteX5" fmla="*/ 26633 w 203201"/>
                <a:gd name="connsiteY5" fmla="*/ 236067 h 341313"/>
                <a:gd name="connsiteX6" fmla="*/ 39457 w 203201"/>
                <a:gd name="connsiteY6" fmla="*/ 183935 h 341313"/>
                <a:gd name="connsiteX7" fmla="*/ 85818 w 203201"/>
                <a:gd name="connsiteY7" fmla="*/ 0 h 341313"/>
                <a:gd name="connsiteX0" fmla="*/ 85818 w 203201"/>
                <a:gd name="connsiteY0" fmla="*/ 0 h 341313"/>
                <a:gd name="connsiteX1" fmla="*/ 117384 w 203201"/>
                <a:gd name="connsiteY1" fmla="*/ 0 h 341313"/>
                <a:gd name="connsiteX2" fmla="*/ 203201 w 203201"/>
                <a:gd name="connsiteY2" fmla="*/ 341313 h 341313"/>
                <a:gd name="connsiteX3" fmla="*/ 0 w 203201"/>
                <a:gd name="connsiteY3" fmla="*/ 341313 h 341313"/>
                <a:gd name="connsiteX4" fmla="*/ 19728 w 203201"/>
                <a:gd name="connsiteY4" fmla="*/ 262624 h 341313"/>
                <a:gd name="connsiteX5" fmla="*/ 26633 w 203201"/>
                <a:gd name="connsiteY5" fmla="*/ 236067 h 341313"/>
                <a:gd name="connsiteX6" fmla="*/ 85818 w 203201"/>
                <a:gd name="connsiteY6" fmla="*/ 0 h 341313"/>
                <a:gd name="connsiteX0" fmla="*/ 85818 w 203201"/>
                <a:gd name="connsiteY0" fmla="*/ 0 h 341313"/>
                <a:gd name="connsiteX1" fmla="*/ 117384 w 203201"/>
                <a:gd name="connsiteY1" fmla="*/ 0 h 341313"/>
                <a:gd name="connsiteX2" fmla="*/ 203201 w 203201"/>
                <a:gd name="connsiteY2" fmla="*/ 341313 h 341313"/>
                <a:gd name="connsiteX3" fmla="*/ 0 w 203201"/>
                <a:gd name="connsiteY3" fmla="*/ 341313 h 341313"/>
                <a:gd name="connsiteX4" fmla="*/ 19728 w 203201"/>
                <a:gd name="connsiteY4" fmla="*/ 262624 h 341313"/>
                <a:gd name="connsiteX5" fmla="*/ 85818 w 203201"/>
                <a:gd name="connsiteY5" fmla="*/ 0 h 341313"/>
                <a:gd name="connsiteX0" fmla="*/ 85818 w 203201"/>
                <a:gd name="connsiteY0" fmla="*/ 0 h 341313"/>
                <a:gd name="connsiteX1" fmla="*/ 117384 w 203201"/>
                <a:gd name="connsiteY1" fmla="*/ 0 h 341313"/>
                <a:gd name="connsiteX2" fmla="*/ 203201 w 203201"/>
                <a:gd name="connsiteY2" fmla="*/ 341313 h 341313"/>
                <a:gd name="connsiteX3" fmla="*/ 0 w 203201"/>
                <a:gd name="connsiteY3" fmla="*/ 341313 h 341313"/>
                <a:gd name="connsiteX4" fmla="*/ 85818 w 203201"/>
                <a:gd name="connsiteY4" fmla="*/ 0 h 3413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201" h="341313">
                  <a:moveTo>
                    <a:pt x="85818" y="0"/>
                  </a:moveTo>
                  <a:lnTo>
                    <a:pt x="117384" y="0"/>
                  </a:lnTo>
                  <a:lnTo>
                    <a:pt x="203201" y="341313"/>
                  </a:lnTo>
                  <a:lnTo>
                    <a:pt x="0" y="341313"/>
                  </a:lnTo>
                  <a:lnTo>
                    <a:pt x="85818"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AAC44F87-96F7-4214-9FDF-0E88C9655F5B}"/>
                </a:ext>
              </a:extLst>
            </p:cNvPr>
            <p:cNvSpPr>
              <a:spLocks/>
            </p:cNvSpPr>
            <p:nvPr/>
          </p:nvSpPr>
          <p:spPr bwMode="auto">
            <a:xfrm>
              <a:off x="7839663" y="3427987"/>
              <a:ext cx="318867" cy="25400"/>
            </a:xfrm>
            <a:custGeom>
              <a:avLst/>
              <a:gdLst>
                <a:gd name="connsiteX0" fmla="*/ 0 w 263526"/>
                <a:gd name="connsiteY0" fmla="*/ 0 h 25400"/>
                <a:gd name="connsiteX1" fmla="*/ 263526 w 263526"/>
                <a:gd name="connsiteY1" fmla="*/ 0 h 25400"/>
                <a:gd name="connsiteX2" fmla="*/ 263526 w 263526"/>
                <a:gd name="connsiteY2" fmla="*/ 25400 h 25400"/>
                <a:gd name="connsiteX3" fmla="*/ 0 w 263526"/>
                <a:gd name="connsiteY3" fmla="*/ 25400 h 25400"/>
                <a:gd name="connsiteX4" fmla="*/ 0 w 263526"/>
                <a:gd name="connsiteY4" fmla="*/ 0 h 2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26" h="25400">
                  <a:moveTo>
                    <a:pt x="0" y="0"/>
                  </a:moveTo>
                  <a:lnTo>
                    <a:pt x="263526" y="0"/>
                  </a:lnTo>
                  <a:lnTo>
                    <a:pt x="263526" y="25400"/>
                  </a:lnTo>
                  <a:lnTo>
                    <a:pt x="0" y="25400"/>
                  </a:lnTo>
                  <a:lnTo>
                    <a:pt x="0"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8861C691-9D9A-4C89-A8D1-1EA3657605AA}"/>
                </a:ext>
              </a:extLst>
            </p:cNvPr>
            <p:cNvSpPr/>
            <p:nvPr/>
          </p:nvSpPr>
          <p:spPr bwMode="auto">
            <a:xfrm>
              <a:off x="7961187" y="3107874"/>
              <a:ext cx="74798" cy="37785"/>
            </a:xfrm>
            <a:custGeom>
              <a:avLst/>
              <a:gdLst>
                <a:gd name="connsiteX0" fmla="*/ 9501 w 74798"/>
                <a:gd name="connsiteY0" fmla="*/ 0 h 37785"/>
                <a:gd name="connsiteX1" fmla="*/ 65297 w 74798"/>
                <a:gd name="connsiteY1" fmla="*/ 0 h 37785"/>
                <a:gd name="connsiteX2" fmla="*/ 74798 w 74798"/>
                <a:gd name="connsiteY2" fmla="*/ 37785 h 37785"/>
                <a:gd name="connsiteX3" fmla="*/ 0 w 74798"/>
                <a:gd name="connsiteY3" fmla="*/ 37785 h 37785"/>
                <a:gd name="connsiteX4" fmla="*/ 9501 w 74798"/>
                <a:gd name="connsiteY4" fmla="*/ 0 h 37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98" h="37785">
                  <a:moveTo>
                    <a:pt x="9501" y="0"/>
                  </a:moveTo>
                  <a:lnTo>
                    <a:pt x="65297" y="0"/>
                  </a:lnTo>
                  <a:lnTo>
                    <a:pt x="74798" y="37785"/>
                  </a:lnTo>
                  <a:lnTo>
                    <a:pt x="0" y="37785"/>
                  </a:lnTo>
                  <a:lnTo>
                    <a:pt x="9501"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1" name="Freeform: Shape 200">
              <a:extLst>
                <a:ext uri="{FF2B5EF4-FFF2-40B4-BE49-F238E27FC236}">
                  <a16:creationId xmlns:a16="http://schemas.microsoft.com/office/drawing/2014/main" id="{88F611E5-588D-43FE-A79A-AB9BB487EC92}"/>
                </a:ext>
              </a:extLst>
            </p:cNvPr>
            <p:cNvSpPr/>
            <p:nvPr/>
          </p:nvSpPr>
          <p:spPr bwMode="auto">
            <a:xfrm>
              <a:off x="7940394" y="3169639"/>
              <a:ext cx="116384" cy="58718"/>
            </a:xfrm>
            <a:custGeom>
              <a:avLst/>
              <a:gdLst>
                <a:gd name="connsiteX0" fmla="*/ 14763 w 116384"/>
                <a:gd name="connsiteY0" fmla="*/ 0 h 58718"/>
                <a:gd name="connsiteX1" fmla="*/ 101620 w 116384"/>
                <a:gd name="connsiteY1" fmla="*/ 0 h 58718"/>
                <a:gd name="connsiteX2" fmla="*/ 116384 w 116384"/>
                <a:gd name="connsiteY2" fmla="*/ 58718 h 58718"/>
                <a:gd name="connsiteX3" fmla="*/ 0 w 116384"/>
                <a:gd name="connsiteY3" fmla="*/ 58718 h 58718"/>
                <a:gd name="connsiteX4" fmla="*/ 14763 w 116384"/>
                <a:gd name="connsiteY4" fmla="*/ 0 h 58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384" h="58718">
                  <a:moveTo>
                    <a:pt x="14763" y="0"/>
                  </a:moveTo>
                  <a:lnTo>
                    <a:pt x="101620" y="0"/>
                  </a:lnTo>
                  <a:lnTo>
                    <a:pt x="116384" y="58718"/>
                  </a:lnTo>
                  <a:lnTo>
                    <a:pt x="0" y="58718"/>
                  </a:lnTo>
                  <a:lnTo>
                    <a:pt x="14763"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 name="Group 17">
            <a:extLst>
              <a:ext uri="{FF2B5EF4-FFF2-40B4-BE49-F238E27FC236}">
                <a16:creationId xmlns:a16="http://schemas.microsoft.com/office/drawing/2014/main" id="{6B39C12D-0006-4BB5-92E0-25F6CB9CA903}"/>
              </a:ext>
            </a:extLst>
          </p:cNvPr>
          <p:cNvGrpSpPr/>
          <p:nvPr/>
        </p:nvGrpSpPr>
        <p:grpSpPr>
          <a:xfrm>
            <a:off x="6107720" y="2781928"/>
            <a:ext cx="378445" cy="479696"/>
            <a:chOff x="6641312" y="2966606"/>
            <a:chExt cx="424112" cy="537581"/>
          </a:xfrm>
        </p:grpSpPr>
        <p:grpSp>
          <p:nvGrpSpPr>
            <p:cNvPr id="204" name="Group 154">
              <a:extLst>
                <a:ext uri="{FF2B5EF4-FFF2-40B4-BE49-F238E27FC236}">
                  <a16:creationId xmlns:a16="http://schemas.microsoft.com/office/drawing/2014/main" id="{E4C27E6E-C5EA-4933-82CB-0E5B448DA846}"/>
                </a:ext>
              </a:extLst>
            </p:cNvPr>
            <p:cNvGrpSpPr>
              <a:grpSpLocks noChangeAspect="1"/>
            </p:cNvGrpSpPr>
            <p:nvPr/>
          </p:nvGrpSpPr>
          <p:grpSpPr bwMode="auto">
            <a:xfrm>
              <a:off x="6641312" y="3008887"/>
              <a:ext cx="357187" cy="495300"/>
              <a:chOff x="1057" y="2781"/>
              <a:chExt cx="225" cy="312"/>
            </a:xfrm>
          </p:grpSpPr>
          <p:sp>
            <p:nvSpPr>
              <p:cNvPr id="205" name="Oval 155">
                <a:extLst>
                  <a:ext uri="{FF2B5EF4-FFF2-40B4-BE49-F238E27FC236}">
                    <a16:creationId xmlns:a16="http://schemas.microsoft.com/office/drawing/2014/main" id="{6972D7C5-5F59-4370-8757-FC2054786C33}"/>
                  </a:ext>
                </a:extLst>
              </p:cNvPr>
              <p:cNvSpPr>
                <a:spLocks noChangeArrowheads="1"/>
              </p:cNvSpPr>
              <p:nvPr/>
            </p:nvSpPr>
            <p:spPr bwMode="auto">
              <a:xfrm>
                <a:off x="1057" y="2781"/>
                <a:ext cx="225" cy="224"/>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6" name="Freeform 156">
                <a:extLst>
                  <a:ext uri="{FF2B5EF4-FFF2-40B4-BE49-F238E27FC236}">
                    <a16:creationId xmlns:a16="http://schemas.microsoft.com/office/drawing/2014/main" id="{B4369CBC-91CA-4EB6-A4DF-D3B91B39891F}"/>
                  </a:ext>
                </a:extLst>
              </p:cNvPr>
              <p:cNvSpPr>
                <a:spLocks/>
              </p:cNvSpPr>
              <p:nvPr/>
            </p:nvSpPr>
            <p:spPr bwMode="auto">
              <a:xfrm>
                <a:off x="1121" y="3064"/>
                <a:ext cx="98" cy="29"/>
              </a:xfrm>
              <a:custGeom>
                <a:avLst/>
                <a:gdLst>
                  <a:gd name="T0" fmla="*/ 363 w 427"/>
                  <a:gd name="T1" fmla="*/ 128 h 128"/>
                  <a:gd name="T2" fmla="*/ 64 w 427"/>
                  <a:gd name="T3" fmla="*/ 128 h 128"/>
                  <a:gd name="T4" fmla="*/ 0 w 427"/>
                  <a:gd name="T5" fmla="*/ 64 h 128"/>
                  <a:gd name="T6" fmla="*/ 0 w 427"/>
                  <a:gd name="T7" fmla="*/ 64 h 128"/>
                  <a:gd name="T8" fmla="*/ 64 w 427"/>
                  <a:gd name="T9" fmla="*/ 0 h 128"/>
                  <a:gd name="T10" fmla="*/ 363 w 427"/>
                  <a:gd name="T11" fmla="*/ 0 h 128"/>
                  <a:gd name="T12" fmla="*/ 427 w 427"/>
                  <a:gd name="T13" fmla="*/ 64 h 128"/>
                  <a:gd name="T14" fmla="*/ 427 w 427"/>
                  <a:gd name="T15" fmla="*/ 64 h 128"/>
                  <a:gd name="T16" fmla="*/ 363 w 427"/>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128">
                    <a:moveTo>
                      <a:pt x="363" y="128"/>
                    </a:moveTo>
                    <a:cubicBezTo>
                      <a:pt x="64" y="128"/>
                      <a:pt x="64" y="128"/>
                      <a:pt x="64" y="128"/>
                    </a:cubicBezTo>
                    <a:cubicBezTo>
                      <a:pt x="29" y="128"/>
                      <a:pt x="0" y="99"/>
                      <a:pt x="0" y="64"/>
                    </a:cubicBezTo>
                    <a:cubicBezTo>
                      <a:pt x="0" y="64"/>
                      <a:pt x="0" y="64"/>
                      <a:pt x="0" y="64"/>
                    </a:cubicBezTo>
                    <a:cubicBezTo>
                      <a:pt x="0" y="29"/>
                      <a:pt x="29" y="0"/>
                      <a:pt x="64" y="0"/>
                    </a:cubicBezTo>
                    <a:cubicBezTo>
                      <a:pt x="363" y="0"/>
                      <a:pt x="363" y="0"/>
                      <a:pt x="363" y="0"/>
                    </a:cubicBezTo>
                    <a:cubicBezTo>
                      <a:pt x="398" y="0"/>
                      <a:pt x="427" y="29"/>
                      <a:pt x="427" y="64"/>
                    </a:cubicBezTo>
                    <a:cubicBezTo>
                      <a:pt x="427" y="64"/>
                      <a:pt x="427" y="64"/>
                      <a:pt x="427" y="64"/>
                    </a:cubicBezTo>
                    <a:cubicBezTo>
                      <a:pt x="427" y="99"/>
                      <a:pt x="398" y="128"/>
                      <a:pt x="363" y="12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7" name="Freeform 157">
                <a:extLst>
                  <a:ext uri="{FF2B5EF4-FFF2-40B4-BE49-F238E27FC236}">
                    <a16:creationId xmlns:a16="http://schemas.microsoft.com/office/drawing/2014/main" id="{7C09B1C1-F56C-4531-AFA3-1EDF42779090}"/>
                  </a:ext>
                </a:extLst>
              </p:cNvPr>
              <p:cNvSpPr>
                <a:spLocks/>
              </p:cNvSpPr>
              <p:nvPr/>
            </p:nvSpPr>
            <p:spPr bwMode="auto">
              <a:xfrm>
                <a:off x="1121" y="3025"/>
                <a:ext cx="98" cy="29"/>
              </a:xfrm>
              <a:custGeom>
                <a:avLst/>
                <a:gdLst>
                  <a:gd name="T0" fmla="*/ 363 w 427"/>
                  <a:gd name="T1" fmla="*/ 128 h 128"/>
                  <a:gd name="T2" fmla="*/ 64 w 427"/>
                  <a:gd name="T3" fmla="*/ 128 h 128"/>
                  <a:gd name="T4" fmla="*/ 0 w 427"/>
                  <a:gd name="T5" fmla="*/ 64 h 128"/>
                  <a:gd name="T6" fmla="*/ 0 w 427"/>
                  <a:gd name="T7" fmla="*/ 64 h 128"/>
                  <a:gd name="T8" fmla="*/ 64 w 427"/>
                  <a:gd name="T9" fmla="*/ 0 h 128"/>
                  <a:gd name="T10" fmla="*/ 363 w 427"/>
                  <a:gd name="T11" fmla="*/ 0 h 128"/>
                  <a:gd name="T12" fmla="*/ 427 w 427"/>
                  <a:gd name="T13" fmla="*/ 64 h 128"/>
                  <a:gd name="T14" fmla="*/ 427 w 427"/>
                  <a:gd name="T15" fmla="*/ 64 h 128"/>
                  <a:gd name="T16" fmla="*/ 363 w 427"/>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128">
                    <a:moveTo>
                      <a:pt x="363" y="128"/>
                    </a:moveTo>
                    <a:cubicBezTo>
                      <a:pt x="64" y="128"/>
                      <a:pt x="64" y="128"/>
                      <a:pt x="64" y="128"/>
                    </a:cubicBezTo>
                    <a:cubicBezTo>
                      <a:pt x="29" y="128"/>
                      <a:pt x="0" y="100"/>
                      <a:pt x="0" y="64"/>
                    </a:cubicBezTo>
                    <a:cubicBezTo>
                      <a:pt x="0" y="64"/>
                      <a:pt x="0" y="64"/>
                      <a:pt x="0" y="64"/>
                    </a:cubicBezTo>
                    <a:cubicBezTo>
                      <a:pt x="0" y="29"/>
                      <a:pt x="29" y="0"/>
                      <a:pt x="64" y="0"/>
                    </a:cubicBezTo>
                    <a:cubicBezTo>
                      <a:pt x="363" y="0"/>
                      <a:pt x="363" y="0"/>
                      <a:pt x="363" y="0"/>
                    </a:cubicBezTo>
                    <a:cubicBezTo>
                      <a:pt x="398" y="0"/>
                      <a:pt x="427" y="29"/>
                      <a:pt x="427" y="64"/>
                    </a:cubicBezTo>
                    <a:cubicBezTo>
                      <a:pt x="427" y="64"/>
                      <a:pt x="427" y="64"/>
                      <a:pt x="427" y="64"/>
                    </a:cubicBezTo>
                    <a:cubicBezTo>
                      <a:pt x="427" y="100"/>
                      <a:pt x="398" y="128"/>
                      <a:pt x="363" y="12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8" name="Freeform 158">
                <a:extLst>
                  <a:ext uri="{FF2B5EF4-FFF2-40B4-BE49-F238E27FC236}">
                    <a16:creationId xmlns:a16="http://schemas.microsoft.com/office/drawing/2014/main" id="{C3C6EABD-CBE4-43F9-B921-200148377648}"/>
                  </a:ext>
                </a:extLst>
              </p:cNvPr>
              <p:cNvSpPr>
                <a:spLocks/>
              </p:cNvSpPr>
              <p:nvPr/>
            </p:nvSpPr>
            <p:spPr bwMode="auto">
              <a:xfrm>
                <a:off x="1121" y="2976"/>
                <a:ext cx="98" cy="39"/>
              </a:xfrm>
              <a:custGeom>
                <a:avLst/>
                <a:gdLst>
                  <a:gd name="T0" fmla="*/ 341 w 427"/>
                  <a:gd name="T1" fmla="*/ 171 h 171"/>
                  <a:gd name="T2" fmla="*/ 85 w 427"/>
                  <a:gd name="T3" fmla="*/ 171 h 171"/>
                  <a:gd name="T4" fmla="*/ 0 w 427"/>
                  <a:gd name="T5" fmla="*/ 85 h 171"/>
                  <a:gd name="T6" fmla="*/ 0 w 427"/>
                  <a:gd name="T7" fmla="*/ 85 h 171"/>
                  <a:gd name="T8" fmla="*/ 85 w 427"/>
                  <a:gd name="T9" fmla="*/ 0 h 171"/>
                  <a:gd name="T10" fmla="*/ 341 w 427"/>
                  <a:gd name="T11" fmla="*/ 0 h 171"/>
                  <a:gd name="T12" fmla="*/ 427 w 427"/>
                  <a:gd name="T13" fmla="*/ 85 h 171"/>
                  <a:gd name="T14" fmla="*/ 427 w 427"/>
                  <a:gd name="T15" fmla="*/ 85 h 171"/>
                  <a:gd name="T16" fmla="*/ 341 w 427"/>
                  <a:gd name="T17"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171">
                    <a:moveTo>
                      <a:pt x="341" y="171"/>
                    </a:moveTo>
                    <a:cubicBezTo>
                      <a:pt x="85" y="171"/>
                      <a:pt x="85" y="171"/>
                      <a:pt x="85" y="171"/>
                    </a:cubicBezTo>
                    <a:cubicBezTo>
                      <a:pt x="38" y="171"/>
                      <a:pt x="0" y="133"/>
                      <a:pt x="0" y="85"/>
                    </a:cubicBezTo>
                    <a:cubicBezTo>
                      <a:pt x="0" y="85"/>
                      <a:pt x="0" y="85"/>
                      <a:pt x="0" y="85"/>
                    </a:cubicBezTo>
                    <a:cubicBezTo>
                      <a:pt x="0" y="38"/>
                      <a:pt x="38" y="0"/>
                      <a:pt x="85" y="0"/>
                    </a:cubicBezTo>
                    <a:cubicBezTo>
                      <a:pt x="341" y="0"/>
                      <a:pt x="341" y="0"/>
                      <a:pt x="341" y="0"/>
                    </a:cubicBezTo>
                    <a:cubicBezTo>
                      <a:pt x="388" y="0"/>
                      <a:pt x="427" y="38"/>
                      <a:pt x="427" y="85"/>
                    </a:cubicBezTo>
                    <a:cubicBezTo>
                      <a:pt x="427" y="85"/>
                      <a:pt x="427" y="85"/>
                      <a:pt x="427" y="85"/>
                    </a:cubicBezTo>
                    <a:cubicBezTo>
                      <a:pt x="427" y="133"/>
                      <a:pt x="388" y="171"/>
                      <a:pt x="341" y="17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7" name="Group 16">
              <a:extLst>
                <a:ext uri="{FF2B5EF4-FFF2-40B4-BE49-F238E27FC236}">
                  <a16:creationId xmlns:a16="http://schemas.microsoft.com/office/drawing/2014/main" id="{56691474-4A5C-4650-A6E8-41922FE77D76}"/>
                </a:ext>
              </a:extLst>
            </p:cNvPr>
            <p:cNvGrpSpPr/>
            <p:nvPr/>
          </p:nvGrpSpPr>
          <p:grpSpPr>
            <a:xfrm>
              <a:off x="6821778" y="2966606"/>
              <a:ext cx="243646" cy="310163"/>
              <a:chOff x="5747565" y="2701243"/>
              <a:chExt cx="378713" cy="482105"/>
            </a:xfrm>
          </p:grpSpPr>
          <p:sp>
            <p:nvSpPr>
              <p:cNvPr id="210" name="Freeform: Shape 209">
                <a:extLst>
                  <a:ext uri="{FF2B5EF4-FFF2-40B4-BE49-F238E27FC236}">
                    <a16:creationId xmlns:a16="http://schemas.microsoft.com/office/drawing/2014/main" id="{E5E3959A-FFC3-4A6F-A47D-9880C7CEBF92}"/>
                  </a:ext>
                </a:extLst>
              </p:cNvPr>
              <p:cNvSpPr/>
              <p:nvPr/>
            </p:nvSpPr>
            <p:spPr bwMode="auto">
              <a:xfrm>
                <a:off x="5747565" y="2703654"/>
                <a:ext cx="377063" cy="479694"/>
              </a:xfrm>
              <a:custGeom>
                <a:avLst/>
                <a:gdLst>
                  <a:gd name="connsiteX0" fmla="*/ 0 w 612476"/>
                  <a:gd name="connsiteY0" fmla="*/ 0 h 779184"/>
                  <a:gd name="connsiteX1" fmla="*/ 445383 w 612476"/>
                  <a:gd name="connsiteY1" fmla="*/ 0 h 779184"/>
                  <a:gd name="connsiteX2" fmla="*/ 612476 w 612476"/>
                  <a:gd name="connsiteY2" fmla="*/ 155037 h 779184"/>
                  <a:gd name="connsiteX3" fmla="*/ 612476 w 612476"/>
                  <a:gd name="connsiteY3" fmla="*/ 779184 h 779184"/>
                  <a:gd name="connsiteX4" fmla="*/ 0 w 612476"/>
                  <a:gd name="connsiteY4" fmla="*/ 779184 h 779184"/>
                  <a:gd name="connsiteX5" fmla="*/ 0 w 612476"/>
                  <a:gd name="connsiteY5" fmla="*/ 0 h 779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2476" h="779184">
                    <a:moveTo>
                      <a:pt x="0" y="0"/>
                    </a:moveTo>
                    <a:lnTo>
                      <a:pt x="445383" y="0"/>
                    </a:lnTo>
                    <a:lnTo>
                      <a:pt x="612476" y="155037"/>
                    </a:lnTo>
                    <a:lnTo>
                      <a:pt x="612476" y="779184"/>
                    </a:lnTo>
                    <a:lnTo>
                      <a:pt x="0" y="779184"/>
                    </a:lnTo>
                    <a:lnTo>
                      <a:pt x="0" y="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2" name="Rectangle 69">
                <a:extLst>
                  <a:ext uri="{FF2B5EF4-FFF2-40B4-BE49-F238E27FC236}">
                    <a16:creationId xmlns:a16="http://schemas.microsoft.com/office/drawing/2014/main" id="{5293AECB-1BE3-4840-9A54-9F44B782173A}"/>
                  </a:ext>
                </a:extLst>
              </p:cNvPr>
              <p:cNvSpPr/>
              <p:nvPr/>
            </p:nvSpPr>
            <p:spPr bwMode="auto">
              <a:xfrm>
                <a:off x="6020958" y="2701243"/>
                <a:ext cx="105320" cy="97721"/>
              </a:xfrm>
              <a:custGeom>
                <a:avLst/>
                <a:gdLst>
                  <a:gd name="connsiteX0" fmla="*/ 0 w 167094"/>
                  <a:gd name="connsiteY0" fmla="*/ 0 h 155038"/>
                  <a:gd name="connsiteX1" fmla="*/ 167094 w 167094"/>
                  <a:gd name="connsiteY1" fmla="*/ 0 h 155038"/>
                  <a:gd name="connsiteX2" fmla="*/ 167094 w 167094"/>
                  <a:gd name="connsiteY2" fmla="*/ 155038 h 155038"/>
                  <a:gd name="connsiteX3" fmla="*/ 0 w 167094"/>
                  <a:gd name="connsiteY3" fmla="*/ 155038 h 155038"/>
                  <a:gd name="connsiteX4" fmla="*/ 0 w 167094"/>
                  <a:gd name="connsiteY4" fmla="*/ 0 h 155038"/>
                  <a:gd name="connsiteX0" fmla="*/ 0 w 167094"/>
                  <a:gd name="connsiteY0" fmla="*/ 0 h 155038"/>
                  <a:gd name="connsiteX1" fmla="*/ 167094 w 167094"/>
                  <a:gd name="connsiteY1" fmla="*/ 155038 h 155038"/>
                  <a:gd name="connsiteX2" fmla="*/ 0 w 167094"/>
                  <a:gd name="connsiteY2" fmla="*/ 155038 h 155038"/>
                  <a:gd name="connsiteX3" fmla="*/ 0 w 167094"/>
                  <a:gd name="connsiteY3" fmla="*/ 0 h 155038"/>
                </a:gdLst>
                <a:ahLst/>
                <a:cxnLst>
                  <a:cxn ang="0">
                    <a:pos x="connsiteX0" y="connsiteY0"/>
                  </a:cxn>
                  <a:cxn ang="0">
                    <a:pos x="connsiteX1" y="connsiteY1"/>
                  </a:cxn>
                  <a:cxn ang="0">
                    <a:pos x="connsiteX2" y="connsiteY2"/>
                  </a:cxn>
                  <a:cxn ang="0">
                    <a:pos x="connsiteX3" y="connsiteY3"/>
                  </a:cxn>
                </a:cxnLst>
                <a:rect l="l" t="t" r="r" b="b"/>
                <a:pathLst>
                  <a:path w="167094" h="155038">
                    <a:moveTo>
                      <a:pt x="0" y="0"/>
                    </a:moveTo>
                    <a:lnTo>
                      <a:pt x="167094" y="155038"/>
                    </a:lnTo>
                    <a:lnTo>
                      <a:pt x="0" y="155038"/>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3" name="Group 212">
                <a:extLst>
                  <a:ext uri="{FF2B5EF4-FFF2-40B4-BE49-F238E27FC236}">
                    <a16:creationId xmlns:a16="http://schemas.microsoft.com/office/drawing/2014/main" id="{871A044B-5620-4068-9A84-3B66D1849091}"/>
                  </a:ext>
                </a:extLst>
              </p:cNvPr>
              <p:cNvGrpSpPr/>
              <p:nvPr/>
            </p:nvGrpSpPr>
            <p:grpSpPr>
              <a:xfrm>
                <a:off x="5798943" y="2863043"/>
                <a:ext cx="263297" cy="252577"/>
                <a:chOff x="5389394" y="4666521"/>
                <a:chExt cx="247650" cy="278208"/>
              </a:xfrm>
              <a:solidFill>
                <a:schemeClr val="accent1"/>
              </a:solidFill>
            </p:grpSpPr>
            <p:sp>
              <p:nvSpPr>
                <p:cNvPr id="214" name="Rectangle 224">
                  <a:extLst>
                    <a:ext uri="{FF2B5EF4-FFF2-40B4-BE49-F238E27FC236}">
                      <a16:creationId xmlns:a16="http://schemas.microsoft.com/office/drawing/2014/main" id="{68BB6E24-5472-4646-A7C9-5D9274F04011}"/>
                    </a:ext>
                  </a:extLst>
                </p:cNvPr>
                <p:cNvSpPr>
                  <a:spLocks noChangeArrowheads="1"/>
                </p:cNvSpPr>
                <p:nvPr/>
              </p:nvSpPr>
              <p:spPr bwMode="auto">
                <a:xfrm>
                  <a:off x="5456533" y="4877692"/>
                  <a:ext cx="180511" cy="670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5" name="Rectangle 226">
                  <a:extLst>
                    <a:ext uri="{FF2B5EF4-FFF2-40B4-BE49-F238E27FC236}">
                      <a16:creationId xmlns:a16="http://schemas.microsoft.com/office/drawing/2014/main" id="{54BAFFE8-BA85-4622-9C3A-900563424CDF}"/>
                    </a:ext>
                  </a:extLst>
                </p:cNvPr>
                <p:cNvSpPr>
                  <a:spLocks noChangeArrowheads="1"/>
                </p:cNvSpPr>
                <p:nvPr/>
              </p:nvSpPr>
              <p:spPr bwMode="auto">
                <a:xfrm>
                  <a:off x="5389394" y="4741801"/>
                  <a:ext cx="123826" cy="661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6" name="Rectangle 227">
                  <a:extLst>
                    <a:ext uri="{FF2B5EF4-FFF2-40B4-BE49-F238E27FC236}">
                      <a16:creationId xmlns:a16="http://schemas.microsoft.com/office/drawing/2014/main" id="{792F5C09-76B5-4DBB-97D3-6FC9E958899E}"/>
                    </a:ext>
                  </a:extLst>
                </p:cNvPr>
                <p:cNvSpPr>
                  <a:spLocks noChangeArrowheads="1"/>
                </p:cNvSpPr>
                <p:nvPr/>
              </p:nvSpPr>
              <p:spPr bwMode="auto">
                <a:xfrm>
                  <a:off x="5559379" y="4666521"/>
                  <a:ext cx="77665" cy="661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sp>
        <p:nvSpPr>
          <p:cNvPr id="110" name="TextBox 109">
            <a:extLst>
              <a:ext uri="{FF2B5EF4-FFF2-40B4-BE49-F238E27FC236}">
                <a16:creationId xmlns:a16="http://schemas.microsoft.com/office/drawing/2014/main" id="{E546582F-D0D0-4AC4-8A87-68B4333B648D}"/>
              </a:ext>
            </a:extLst>
          </p:cNvPr>
          <p:cNvSpPr txBox="1"/>
          <p:nvPr/>
        </p:nvSpPr>
        <p:spPr>
          <a:xfrm>
            <a:off x="4729644" y="5465855"/>
            <a:ext cx="3054929" cy="338554"/>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200" b="0" i="0" u="none" strike="noStrike" kern="0" cap="none" spc="0" normalizeH="0" baseline="0">
                <a:ln>
                  <a:noFill/>
                </a:ln>
                <a:solidFill>
                  <a:prstClr val="white"/>
                </a:solidFill>
                <a:effectLst/>
                <a:uLnTx/>
                <a:uFillTx/>
                <a:latin typeface="Segoe UI Semibold"/>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Semibold"/>
                <a:ea typeface="+mn-ea"/>
                <a:cs typeface="Segoe UI Semibold" panose="020B0702040204020203" pitchFamily="34" charset="0"/>
              </a:rPr>
              <a:t>Azure Cognitive Search</a:t>
            </a:r>
          </a:p>
        </p:txBody>
      </p:sp>
      <p:grpSp>
        <p:nvGrpSpPr>
          <p:cNvPr id="3" name="Group 2">
            <a:extLst>
              <a:ext uri="{FF2B5EF4-FFF2-40B4-BE49-F238E27FC236}">
                <a16:creationId xmlns:a16="http://schemas.microsoft.com/office/drawing/2014/main" id="{FBCC3F4D-624F-4080-BDC0-8172630D59DB}"/>
              </a:ext>
            </a:extLst>
          </p:cNvPr>
          <p:cNvGrpSpPr/>
          <p:nvPr/>
        </p:nvGrpSpPr>
        <p:grpSpPr>
          <a:xfrm>
            <a:off x="8901437" y="2943040"/>
            <a:ext cx="758070" cy="517422"/>
            <a:chOff x="10392546" y="2899574"/>
            <a:chExt cx="758070" cy="517422"/>
          </a:xfrm>
          <a:solidFill>
            <a:schemeClr val="accent1">
              <a:lumMod val="60000"/>
              <a:lumOff val="40000"/>
            </a:schemeClr>
          </a:solidFill>
        </p:grpSpPr>
        <p:sp>
          <p:nvSpPr>
            <p:cNvPr id="129" name="Freeform: Shape 128">
              <a:extLst>
                <a:ext uri="{FF2B5EF4-FFF2-40B4-BE49-F238E27FC236}">
                  <a16:creationId xmlns:a16="http://schemas.microsoft.com/office/drawing/2014/main" id="{B861736F-3BF1-475B-A523-1DF730BB9C86}"/>
                </a:ext>
              </a:extLst>
            </p:cNvPr>
            <p:cNvSpPr/>
            <p:nvPr/>
          </p:nvSpPr>
          <p:spPr bwMode="auto">
            <a:xfrm>
              <a:off x="10392546" y="2899574"/>
              <a:ext cx="758070" cy="517422"/>
            </a:xfrm>
            <a:custGeom>
              <a:avLst/>
              <a:gdLst>
                <a:gd name="connsiteX0" fmla="*/ 478188 w 758070"/>
                <a:gd name="connsiteY0" fmla="*/ 0 h 517422"/>
                <a:gd name="connsiteX1" fmla="*/ 661768 w 758070"/>
                <a:gd name="connsiteY1" fmla="*/ 183580 h 517422"/>
                <a:gd name="connsiteX2" fmla="*/ 658039 w 758070"/>
                <a:gd name="connsiteY2" fmla="*/ 220578 h 517422"/>
                <a:gd name="connsiteX3" fmla="*/ 654010 w 758070"/>
                <a:gd name="connsiteY3" fmla="*/ 233557 h 517422"/>
                <a:gd name="connsiteX4" fmla="*/ 669772 w 758070"/>
                <a:gd name="connsiteY4" fmla="*/ 238450 h 517422"/>
                <a:gd name="connsiteX5" fmla="*/ 758070 w 758070"/>
                <a:gd name="connsiteY5" fmla="*/ 371661 h 517422"/>
                <a:gd name="connsiteX6" fmla="*/ 613498 w 758070"/>
                <a:gd name="connsiteY6" fmla="*/ 516233 h 517422"/>
                <a:gd name="connsiteX7" fmla="*/ 144572 w 758070"/>
                <a:gd name="connsiteY7" fmla="*/ 516233 h 517422"/>
                <a:gd name="connsiteX8" fmla="*/ 0 w 758070"/>
                <a:gd name="connsiteY8" fmla="*/ 371661 h 517422"/>
                <a:gd name="connsiteX9" fmla="*/ 88298 w 758070"/>
                <a:gd name="connsiteY9" fmla="*/ 238450 h 517422"/>
                <a:gd name="connsiteX10" fmla="*/ 101235 w 758070"/>
                <a:gd name="connsiteY10" fmla="*/ 234434 h 517422"/>
                <a:gd name="connsiteX11" fmla="*/ 97247 w 758070"/>
                <a:gd name="connsiteY11" fmla="*/ 221586 h 517422"/>
                <a:gd name="connsiteX12" fmla="*/ 94650 w 758070"/>
                <a:gd name="connsiteY12" fmla="*/ 195821 h 517422"/>
                <a:gd name="connsiteX13" fmla="*/ 222496 w 758070"/>
                <a:gd name="connsiteY13" fmla="*/ 67975 h 517422"/>
                <a:gd name="connsiteX14" fmla="*/ 293976 w 758070"/>
                <a:gd name="connsiteY14" fmla="*/ 89809 h 517422"/>
                <a:gd name="connsiteX15" fmla="*/ 312741 w 758070"/>
                <a:gd name="connsiteY15" fmla="*/ 105292 h 517422"/>
                <a:gd name="connsiteX16" fmla="*/ 325960 w 758070"/>
                <a:gd name="connsiteY16" fmla="*/ 80939 h 517422"/>
                <a:gd name="connsiteX17" fmla="*/ 478188 w 758070"/>
                <a:gd name="connsiteY17" fmla="*/ 0 h 517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8070" h="517422">
                  <a:moveTo>
                    <a:pt x="478188" y="0"/>
                  </a:moveTo>
                  <a:cubicBezTo>
                    <a:pt x="579576" y="0"/>
                    <a:pt x="661768" y="82192"/>
                    <a:pt x="661768" y="183580"/>
                  </a:cubicBezTo>
                  <a:cubicBezTo>
                    <a:pt x="661768" y="196254"/>
                    <a:pt x="660484" y="208628"/>
                    <a:pt x="658039" y="220578"/>
                  </a:cubicBezTo>
                  <a:lnTo>
                    <a:pt x="654010" y="233557"/>
                  </a:lnTo>
                  <a:lnTo>
                    <a:pt x="669772" y="238450"/>
                  </a:lnTo>
                  <a:cubicBezTo>
                    <a:pt x="721661" y="260397"/>
                    <a:pt x="758070" y="311777"/>
                    <a:pt x="758070" y="371661"/>
                  </a:cubicBezTo>
                  <a:cubicBezTo>
                    <a:pt x="758070" y="451506"/>
                    <a:pt x="715747" y="513557"/>
                    <a:pt x="613498" y="516233"/>
                  </a:cubicBezTo>
                  <a:cubicBezTo>
                    <a:pt x="511248" y="518909"/>
                    <a:pt x="224417" y="516233"/>
                    <a:pt x="144572" y="516233"/>
                  </a:cubicBezTo>
                  <a:cubicBezTo>
                    <a:pt x="64727" y="516233"/>
                    <a:pt x="0" y="451506"/>
                    <a:pt x="0" y="371661"/>
                  </a:cubicBezTo>
                  <a:cubicBezTo>
                    <a:pt x="0" y="311777"/>
                    <a:pt x="36409" y="260397"/>
                    <a:pt x="88298" y="238450"/>
                  </a:cubicBezTo>
                  <a:lnTo>
                    <a:pt x="101235" y="234434"/>
                  </a:lnTo>
                  <a:lnTo>
                    <a:pt x="97247" y="221586"/>
                  </a:lnTo>
                  <a:cubicBezTo>
                    <a:pt x="95544" y="213264"/>
                    <a:pt x="94650" y="204647"/>
                    <a:pt x="94650" y="195821"/>
                  </a:cubicBezTo>
                  <a:cubicBezTo>
                    <a:pt x="94650" y="125213"/>
                    <a:pt x="151888" y="67975"/>
                    <a:pt x="222496" y="67975"/>
                  </a:cubicBezTo>
                  <a:cubicBezTo>
                    <a:pt x="248973" y="67975"/>
                    <a:pt x="273571" y="76024"/>
                    <a:pt x="293976" y="89809"/>
                  </a:cubicBezTo>
                  <a:lnTo>
                    <a:pt x="312741" y="105292"/>
                  </a:lnTo>
                  <a:lnTo>
                    <a:pt x="325960" y="80939"/>
                  </a:lnTo>
                  <a:cubicBezTo>
                    <a:pt x="358951" y="32106"/>
                    <a:pt x="414820" y="0"/>
                    <a:pt x="47818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Freeform: Shape 124">
              <a:extLst>
                <a:ext uri="{FF2B5EF4-FFF2-40B4-BE49-F238E27FC236}">
                  <a16:creationId xmlns:a16="http://schemas.microsoft.com/office/drawing/2014/main" id="{8363F745-48F6-46B6-A8B3-C3B22213E2BA}"/>
                </a:ext>
              </a:extLst>
            </p:cNvPr>
            <p:cNvSpPr/>
            <p:nvPr/>
          </p:nvSpPr>
          <p:spPr bwMode="auto">
            <a:xfrm>
              <a:off x="10633831" y="3048127"/>
              <a:ext cx="316237" cy="315506"/>
            </a:xfrm>
            <a:custGeom>
              <a:avLst/>
              <a:gdLst>
                <a:gd name="connsiteX0" fmla="*/ 198831 w 316237"/>
                <a:gd name="connsiteY0" fmla="*/ 0 h 315506"/>
                <a:gd name="connsiteX1" fmla="*/ 281850 w 316237"/>
                <a:gd name="connsiteY1" fmla="*/ 34388 h 315506"/>
                <a:gd name="connsiteX2" fmla="*/ 281850 w 316237"/>
                <a:gd name="connsiteY2" fmla="*/ 200426 h 315506"/>
                <a:gd name="connsiteX3" fmla="*/ 144232 w 316237"/>
                <a:gd name="connsiteY3" fmla="*/ 221381 h 315506"/>
                <a:gd name="connsiteX4" fmla="*/ 139658 w 316237"/>
                <a:gd name="connsiteY4" fmla="*/ 218679 h 315506"/>
                <a:gd name="connsiteX5" fmla="*/ 52278 w 316237"/>
                <a:gd name="connsiteY5" fmla="*/ 306537 h 315506"/>
                <a:gd name="connsiteX6" fmla="*/ 13774 w 316237"/>
                <a:gd name="connsiteY6" fmla="*/ 310461 h 315506"/>
                <a:gd name="connsiteX7" fmla="*/ 8970 w 316237"/>
                <a:gd name="connsiteY7" fmla="*/ 306537 h 315506"/>
                <a:gd name="connsiteX8" fmla="*/ 5046 w 316237"/>
                <a:gd name="connsiteY8" fmla="*/ 301733 h 315506"/>
                <a:gd name="connsiteX9" fmla="*/ 8970 w 316237"/>
                <a:gd name="connsiteY9" fmla="*/ 263229 h 315506"/>
                <a:gd name="connsiteX10" fmla="*/ 97030 w 316237"/>
                <a:gd name="connsiteY10" fmla="*/ 175685 h 315506"/>
                <a:gd name="connsiteX11" fmla="*/ 94857 w 316237"/>
                <a:gd name="connsiteY11" fmla="*/ 172007 h 315506"/>
                <a:gd name="connsiteX12" fmla="*/ 115812 w 316237"/>
                <a:gd name="connsiteY12" fmla="*/ 34388 h 315506"/>
                <a:gd name="connsiteX13" fmla="*/ 198831 w 316237"/>
                <a:gd name="connsiteY13" fmla="*/ 0 h 315506"/>
                <a:gd name="connsiteX14" fmla="*/ 198831 w 316237"/>
                <a:gd name="connsiteY14" fmla="*/ 38320 h 315506"/>
                <a:gd name="connsiteX15" fmla="*/ 142908 w 316237"/>
                <a:gd name="connsiteY15" fmla="*/ 61484 h 315506"/>
                <a:gd name="connsiteX16" fmla="*/ 142908 w 316237"/>
                <a:gd name="connsiteY16" fmla="*/ 173331 h 315506"/>
                <a:gd name="connsiteX17" fmla="*/ 254754 w 316237"/>
                <a:gd name="connsiteY17" fmla="*/ 173331 h 315506"/>
                <a:gd name="connsiteX18" fmla="*/ 254754 w 316237"/>
                <a:gd name="connsiteY18" fmla="*/ 61484 h 315506"/>
                <a:gd name="connsiteX19" fmla="*/ 198831 w 316237"/>
                <a:gd name="connsiteY19" fmla="*/ 38320 h 315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6237" h="315506">
                  <a:moveTo>
                    <a:pt x="198831" y="0"/>
                  </a:moveTo>
                  <a:cubicBezTo>
                    <a:pt x="228878" y="0"/>
                    <a:pt x="258925" y="11463"/>
                    <a:pt x="281850" y="34388"/>
                  </a:cubicBezTo>
                  <a:cubicBezTo>
                    <a:pt x="327700" y="80238"/>
                    <a:pt x="327700" y="154576"/>
                    <a:pt x="281850" y="200426"/>
                  </a:cubicBezTo>
                  <a:cubicBezTo>
                    <a:pt x="244597" y="237680"/>
                    <a:pt x="188537" y="244665"/>
                    <a:pt x="144232" y="221381"/>
                  </a:cubicBezTo>
                  <a:lnTo>
                    <a:pt x="139658" y="218679"/>
                  </a:lnTo>
                  <a:cubicBezTo>
                    <a:pt x="110532" y="247965"/>
                    <a:pt x="81405" y="277251"/>
                    <a:pt x="52278" y="306537"/>
                  </a:cubicBezTo>
                  <a:cubicBezTo>
                    <a:pt x="41814" y="317002"/>
                    <a:pt x="25661" y="318310"/>
                    <a:pt x="13774" y="310461"/>
                  </a:cubicBezTo>
                  <a:lnTo>
                    <a:pt x="8970" y="306537"/>
                  </a:lnTo>
                  <a:lnTo>
                    <a:pt x="5046" y="301733"/>
                  </a:lnTo>
                  <a:cubicBezTo>
                    <a:pt x="-2802" y="289847"/>
                    <a:pt x="-1494" y="273694"/>
                    <a:pt x="8970" y="263229"/>
                  </a:cubicBezTo>
                  <a:cubicBezTo>
                    <a:pt x="29677" y="242654"/>
                    <a:pt x="82716" y="190888"/>
                    <a:pt x="97030" y="175685"/>
                  </a:cubicBezTo>
                  <a:lnTo>
                    <a:pt x="94857" y="172007"/>
                  </a:lnTo>
                  <a:cubicBezTo>
                    <a:pt x="71574" y="127701"/>
                    <a:pt x="78559" y="71641"/>
                    <a:pt x="115812" y="34388"/>
                  </a:cubicBezTo>
                  <a:cubicBezTo>
                    <a:pt x="138737" y="11463"/>
                    <a:pt x="168784" y="0"/>
                    <a:pt x="198831" y="0"/>
                  </a:cubicBezTo>
                  <a:close/>
                  <a:moveTo>
                    <a:pt x="198831" y="38320"/>
                  </a:moveTo>
                  <a:cubicBezTo>
                    <a:pt x="178591" y="38320"/>
                    <a:pt x="158351" y="46041"/>
                    <a:pt x="142908" y="61484"/>
                  </a:cubicBezTo>
                  <a:cubicBezTo>
                    <a:pt x="112022" y="92369"/>
                    <a:pt x="112022" y="142445"/>
                    <a:pt x="142908" y="173331"/>
                  </a:cubicBezTo>
                  <a:cubicBezTo>
                    <a:pt x="173793" y="204216"/>
                    <a:pt x="223869" y="204216"/>
                    <a:pt x="254754" y="173331"/>
                  </a:cubicBezTo>
                  <a:cubicBezTo>
                    <a:pt x="285640" y="142445"/>
                    <a:pt x="285640" y="92369"/>
                    <a:pt x="254754" y="61484"/>
                  </a:cubicBezTo>
                  <a:cubicBezTo>
                    <a:pt x="239312" y="46041"/>
                    <a:pt x="219071" y="38320"/>
                    <a:pt x="198831" y="3832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2" name="TextBox 121">
            <a:extLst>
              <a:ext uri="{FF2B5EF4-FFF2-40B4-BE49-F238E27FC236}">
                <a16:creationId xmlns:a16="http://schemas.microsoft.com/office/drawing/2014/main" id="{CE40D82A-E553-4768-A595-4B6FADB4DF7E}"/>
              </a:ext>
            </a:extLst>
          </p:cNvPr>
          <p:cNvSpPr txBox="1"/>
          <p:nvPr/>
        </p:nvSpPr>
        <p:spPr>
          <a:xfrm>
            <a:off x="8703961" y="3578130"/>
            <a:ext cx="1143084" cy="276999"/>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200" b="0" i="0" u="none" strike="noStrike" kern="0" cap="none" spc="0" normalizeH="0" baseline="0">
                <a:ln>
                  <a:noFill/>
                </a:ln>
                <a:solidFill>
                  <a:prstClr val="white"/>
                </a:solidFill>
                <a:effectLst/>
                <a:uLnTx/>
                <a:uFillTx/>
                <a:latin typeface="Segoe UI Semibold"/>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Semibold"/>
                <a:ea typeface="+mn-ea"/>
                <a:cs typeface="Segoe UI Semibold" panose="020B0702040204020203" pitchFamily="34" charset="0"/>
              </a:rPr>
              <a:t>Search Index</a:t>
            </a:r>
          </a:p>
        </p:txBody>
      </p:sp>
      <p:grpSp>
        <p:nvGrpSpPr>
          <p:cNvPr id="7" name="Group 6">
            <a:extLst>
              <a:ext uri="{FF2B5EF4-FFF2-40B4-BE49-F238E27FC236}">
                <a16:creationId xmlns:a16="http://schemas.microsoft.com/office/drawing/2014/main" id="{3D1CE971-A09A-4E68-A8D5-E2A5B0C8B5A4}"/>
              </a:ext>
            </a:extLst>
          </p:cNvPr>
          <p:cNvGrpSpPr/>
          <p:nvPr/>
        </p:nvGrpSpPr>
        <p:grpSpPr>
          <a:xfrm>
            <a:off x="5228776" y="2892054"/>
            <a:ext cx="303333" cy="317310"/>
            <a:chOff x="5316997" y="2846571"/>
            <a:chExt cx="539326" cy="542989"/>
          </a:xfrm>
        </p:grpSpPr>
        <p:cxnSp>
          <p:nvCxnSpPr>
            <p:cNvPr id="6" name="Straight Connector 5">
              <a:extLst>
                <a:ext uri="{FF2B5EF4-FFF2-40B4-BE49-F238E27FC236}">
                  <a16:creationId xmlns:a16="http://schemas.microsoft.com/office/drawing/2014/main" id="{C2494738-D16D-454D-A25A-79E2B7FD1199}"/>
                </a:ext>
              </a:extLst>
            </p:cNvPr>
            <p:cNvCxnSpPr/>
            <p:nvPr/>
          </p:nvCxnSpPr>
          <p:spPr>
            <a:xfrm>
              <a:off x="5583787" y="2846571"/>
              <a:ext cx="0" cy="542989"/>
            </a:xfrm>
            <a:prstGeom prst="line">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FEC6E930-4171-4AD7-97AE-AC507475D416}"/>
                </a:ext>
              </a:extLst>
            </p:cNvPr>
            <p:cNvCxnSpPr>
              <a:cxnSpLocks/>
            </p:cNvCxnSpPr>
            <p:nvPr/>
          </p:nvCxnSpPr>
          <p:spPr>
            <a:xfrm flipH="1">
              <a:off x="5316997" y="3118066"/>
              <a:ext cx="539326" cy="0"/>
            </a:xfrm>
            <a:prstGeom prst="line">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326" name="TextBox 325">
            <a:extLst>
              <a:ext uri="{FF2B5EF4-FFF2-40B4-BE49-F238E27FC236}">
                <a16:creationId xmlns:a16="http://schemas.microsoft.com/office/drawing/2014/main" id="{09DECAED-8C1A-4E91-A167-DC6291FE1E4F}"/>
              </a:ext>
            </a:extLst>
          </p:cNvPr>
          <p:cNvSpPr txBox="1"/>
          <p:nvPr/>
        </p:nvSpPr>
        <p:spPr>
          <a:xfrm>
            <a:off x="628922" y="4550454"/>
            <a:ext cx="1285784" cy="276999"/>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200" b="0" i="0" u="none" strike="noStrike" kern="0" cap="none" spc="0" normalizeH="0" baseline="0">
                <a:ln>
                  <a:noFill/>
                </a:ln>
                <a:solidFill>
                  <a:prstClr val="white"/>
                </a:solidFill>
                <a:effectLst/>
                <a:uLnTx/>
                <a:uFillTx/>
                <a:latin typeface="Segoe UI Semibold"/>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Semibold"/>
                <a:ea typeface="+mn-ea"/>
                <a:cs typeface="Segoe UI Semibold" panose="020B0702040204020203" pitchFamily="34" charset="0"/>
              </a:rPr>
              <a:t>PDFs</a:t>
            </a:r>
          </a:p>
        </p:txBody>
      </p:sp>
      <p:sp>
        <p:nvSpPr>
          <p:cNvPr id="330" name="Rectangle 329">
            <a:extLst>
              <a:ext uri="{FF2B5EF4-FFF2-40B4-BE49-F238E27FC236}">
                <a16:creationId xmlns:a16="http://schemas.microsoft.com/office/drawing/2014/main" id="{94107B27-B0F5-4474-A3CD-BDA260D77687}"/>
              </a:ext>
            </a:extLst>
          </p:cNvPr>
          <p:cNvSpPr/>
          <p:nvPr/>
        </p:nvSpPr>
        <p:spPr>
          <a:xfrm>
            <a:off x="617288" y="1478970"/>
            <a:ext cx="1309052" cy="276999"/>
          </a:xfrm>
          <a:prstGeom prst="rect">
            <a:avLst/>
          </a:prstGeom>
        </p:spPr>
        <p:txBody>
          <a:bodyPr vert="horz" wrap="square" lIns="0" tIns="0" rIns="0" bIns="0" rtlCol="0" anchor="t">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a:noFill/>
                </a:ln>
                <a:solidFill>
                  <a:srgbClr val="0078D4">
                    <a:lumMod val="60000"/>
                    <a:lumOff val="40000"/>
                  </a:srgbClr>
                </a:solidFill>
                <a:effectLst/>
                <a:uLnTx/>
                <a:uFillTx/>
                <a:latin typeface="Segoe UI Semibold"/>
                <a:ea typeface="+mn-ea"/>
                <a:cs typeface="+mn-cs"/>
              </a:rPr>
              <a:t>Ingest</a:t>
            </a:r>
          </a:p>
        </p:txBody>
      </p:sp>
      <p:sp>
        <p:nvSpPr>
          <p:cNvPr id="424" name="TextBox 423">
            <a:extLst>
              <a:ext uri="{FF2B5EF4-FFF2-40B4-BE49-F238E27FC236}">
                <a16:creationId xmlns:a16="http://schemas.microsoft.com/office/drawing/2014/main" id="{16F9944D-B373-4097-AED7-F3006449B98A}"/>
              </a:ext>
            </a:extLst>
          </p:cNvPr>
          <p:cNvSpPr txBox="1"/>
          <p:nvPr/>
        </p:nvSpPr>
        <p:spPr>
          <a:xfrm>
            <a:off x="787614" y="3109372"/>
            <a:ext cx="968401" cy="276999"/>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200" b="0" i="0" u="none" strike="noStrike" kern="0" cap="none" spc="0" normalizeH="0" baseline="0">
                <a:ln>
                  <a:noFill/>
                </a:ln>
                <a:solidFill>
                  <a:prstClr val="white"/>
                </a:solidFill>
                <a:effectLst/>
                <a:uLnTx/>
                <a:uFillTx/>
                <a:latin typeface="Segoe UI Semibold"/>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Semibold"/>
                <a:ea typeface="+mn-ea"/>
                <a:cs typeface="Segoe UI Semibold" panose="020B0702040204020203" pitchFamily="34" charset="0"/>
              </a:rPr>
              <a:t>Images</a:t>
            </a:r>
          </a:p>
        </p:txBody>
      </p:sp>
      <p:grpSp>
        <p:nvGrpSpPr>
          <p:cNvPr id="104" name="Group 103">
            <a:extLst>
              <a:ext uri="{FF2B5EF4-FFF2-40B4-BE49-F238E27FC236}">
                <a16:creationId xmlns:a16="http://schemas.microsoft.com/office/drawing/2014/main" id="{E98D1367-59DB-4631-8DC4-CEC35CB6E12D}"/>
              </a:ext>
            </a:extLst>
          </p:cNvPr>
          <p:cNvGrpSpPr/>
          <p:nvPr/>
        </p:nvGrpSpPr>
        <p:grpSpPr>
          <a:xfrm>
            <a:off x="982338" y="2413605"/>
            <a:ext cx="578952" cy="578956"/>
            <a:chOff x="-933826" y="5313237"/>
            <a:chExt cx="495301" cy="495304"/>
          </a:xfrm>
        </p:grpSpPr>
        <p:sp>
          <p:nvSpPr>
            <p:cNvPr id="106" name="AutoShape 58">
              <a:extLst>
                <a:ext uri="{FF2B5EF4-FFF2-40B4-BE49-F238E27FC236}">
                  <a16:creationId xmlns:a16="http://schemas.microsoft.com/office/drawing/2014/main" id="{CCE64AD5-8B39-4546-A30F-273756369FC4}"/>
                </a:ext>
              </a:extLst>
            </p:cNvPr>
            <p:cNvSpPr>
              <a:spLocks noChangeAspect="1" noChangeArrowheads="1" noTextEdit="1"/>
            </p:cNvSpPr>
            <p:nvPr/>
          </p:nvSpPr>
          <p:spPr bwMode="auto">
            <a:xfrm>
              <a:off x="-933826" y="5313238"/>
              <a:ext cx="495301"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7" name="Rectangle 60">
              <a:extLst>
                <a:ext uri="{FF2B5EF4-FFF2-40B4-BE49-F238E27FC236}">
                  <a16:creationId xmlns:a16="http://schemas.microsoft.com/office/drawing/2014/main" id="{F7FF4E01-D987-4379-9AD3-3A171D8C6B51}"/>
                </a:ext>
              </a:extLst>
            </p:cNvPr>
            <p:cNvSpPr>
              <a:spLocks noChangeArrowheads="1"/>
            </p:cNvSpPr>
            <p:nvPr/>
          </p:nvSpPr>
          <p:spPr bwMode="auto">
            <a:xfrm>
              <a:off x="-933826" y="5314828"/>
              <a:ext cx="495301" cy="4937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8" name="Rectangle 61">
              <a:extLst>
                <a:ext uri="{FF2B5EF4-FFF2-40B4-BE49-F238E27FC236}">
                  <a16:creationId xmlns:a16="http://schemas.microsoft.com/office/drawing/2014/main" id="{964E687A-0F73-4488-BAE9-248612F49641}"/>
                </a:ext>
              </a:extLst>
            </p:cNvPr>
            <p:cNvSpPr>
              <a:spLocks noChangeArrowheads="1"/>
            </p:cNvSpPr>
            <p:nvPr/>
          </p:nvSpPr>
          <p:spPr bwMode="auto">
            <a:xfrm>
              <a:off x="-933826" y="5313237"/>
              <a:ext cx="495301" cy="49371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9" name="Freeform 62">
              <a:extLst>
                <a:ext uri="{FF2B5EF4-FFF2-40B4-BE49-F238E27FC236}">
                  <a16:creationId xmlns:a16="http://schemas.microsoft.com/office/drawing/2014/main" id="{F1A32081-DA75-4A5E-98D2-ADBCED4561F1}"/>
                </a:ext>
              </a:extLst>
            </p:cNvPr>
            <p:cNvSpPr>
              <a:spLocks/>
            </p:cNvSpPr>
            <p:nvPr/>
          </p:nvSpPr>
          <p:spPr bwMode="auto">
            <a:xfrm>
              <a:off x="-933825" y="5498974"/>
              <a:ext cx="495300" cy="309563"/>
            </a:xfrm>
            <a:custGeom>
              <a:avLst/>
              <a:gdLst>
                <a:gd name="T0" fmla="*/ 263 w 312"/>
                <a:gd name="T1" fmla="*/ 78 h 195"/>
                <a:gd name="T2" fmla="*/ 214 w 312"/>
                <a:gd name="T3" fmla="*/ 127 h 195"/>
                <a:gd name="T4" fmla="*/ 88 w 312"/>
                <a:gd name="T5" fmla="*/ 0 h 195"/>
                <a:gd name="T6" fmla="*/ 0 w 312"/>
                <a:gd name="T7" fmla="*/ 88 h 195"/>
                <a:gd name="T8" fmla="*/ 0 w 312"/>
                <a:gd name="T9" fmla="*/ 195 h 195"/>
                <a:gd name="T10" fmla="*/ 88 w 312"/>
                <a:gd name="T11" fmla="*/ 195 h 195"/>
                <a:gd name="T12" fmla="*/ 146 w 312"/>
                <a:gd name="T13" fmla="*/ 195 h 195"/>
                <a:gd name="T14" fmla="*/ 263 w 312"/>
                <a:gd name="T15" fmla="*/ 195 h 195"/>
                <a:gd name="T16" fmla="*/ 282 w 312"/>
                <a:gd name="T17" fmla="*/ 195 h 195"/>
                <a:gd name="T18" fmla="*/ 312 w 312"/>
                <a:gd name="T19" fmla="*/ 195 h 195"/>
                <a:gd name="T20" fmla="*/ 312 w 312"/>
                <a:gd name="T21" fmla="*/ 126 h 195"/>
                <a:gd name="T22" fmla="*/ 263 w 312"/>
                <a:gd name="T23" fmla="*/ 7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2" h="195">
                  <a:moveTo>
                    <a:pt x="263" y="78"/>
                  </a:moveTo>
                  <a:lnTo>
                    <a:pt x="214" y="127"/>
                  </a:lnTo>
                  <a:lnTo>
                    <a:pt x="88" y="0"/>
                  </a:lnTo>
                  <a:lnTo>
                    <a:pt x="0" y="88"/>
                  </a:lnTo>
                  <a:lnTo>
                    <a:pt x="0" y="195"/>
                  </a:lnTo>
                  <a:lnTo>
                    <a:pt x="88" y="195"/>
                  </a:lnTo>
                  <a:lnTo>
                    <a:pt x="146" y="195"/>
                  </a:lnTo>
                  <a:lnTo>
                    <a:pt x="263" y="195"/>
                  </a:lnTo>
                  <a:lnTo>
                    <a:pt x="282" y="195"/>
                  </a:lnTo>
                  <a:lnTo>
                    <a:pt x="312" y="195"/>
                  </a:lnTo>
                  <a:lnTo>
                    <a:pt x="312" y="126"/>
                  </a:lnTo>
                  <a:lnTo>
                    <a:pt x="263" y="7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2" name="Oval 63">
              <a:extLst>
                <a:ext uri="{FF2B5EF4-FFF2-40B4-BE49-F238E27FC236}">
                  <a16:creationId xmlns:a16="http://schemas.microsoft.com/office/drawing/2014/main" id="{A8EA8E5E-9EA6-49BC-8A78-19AF78CB1235}"/>
                </a:ext>
              </a:extLst>
            </p:cNvPr>
            <p:cNvSpPr>
              <a:spLocks noChangeArrowheads="1"/>
            </p:cNvSpPr>
            <p:nvPr/>
          </p:nvSpPr>
          <p:spPr bwMode="auto">
            <a:xfrm>
              <a:off x="-640137" y="5375155"/>
              <a:ext cx="139700" cy="139700"/>
            </a:xfrm>
            <a:prstGeom prst="ellipse">
              <a:avLst/>
            </a:prstGeom>
            <a:solidFill>
              <a:srgbClr val="F4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13" name="Group 112">
            <a:extLst>
              <a:ext uri="{FF2B5EF4-FFF2-40B4-BE49-F238E27FC236}">
                <a16:creationId xmlns:a16="http://schemas.microsoft.com/office/drawing/2014/main" id="{261F5D7E-33B1-4FBD-95A5-B9579E9A40C1}"/>
              </a:ext>
            </a:extLst>
          </p:cNvPr>
          <p:cNvGrpSpPr/>
          <p:nvPr/>
        </p:nvGrpSpPr>
        <p:grpSpPr>
          <a:xfrm>
            <a:off x="983831" y="3726267"/>
            <a:ext cx="575956" cy="733212"/>
            <a:chOff x="3577054" y="4270539"/>
            <a:chExt cx="568053" cy="723153"/>
          </a:xfrm>
        </p:grpSpPr>
        <p:sp>
          <p:nvSpPr>
            <p:cNvPr id="114" name="Freeform: Shape 113">
              <a:extLst>
                <a:ext uri="{FF2B5EF4-FFF2-40B4-BE49-F238E27FC236}">
                  <a16:creationId xmlns:a16="http://schemas.microsoft.com/office/drawing/2014/main" id="{2E226069-98C5-4F1D-87AB-2B21CA09631A}"/>
                </a:ext>
              </a:extLst>
            </p:cNvPr>
            <p:cNvSpPr/>
            <p:nvPr/>
          </p:nvSpPr>
          <p:spPr bwMode="auto">
            <a:xfrm>
              <a:off x="3577054" y="4274164"/>
              <a:ext cx="565583" cy="719528"/>
            </a:xfrm>
            <a:custGeom>
              <a:avLst/>
              <a:gdLst>
                <a:gd name="connsiteX0" fmla="*/ 0 w 612476"/>
                <a:gd name="connsiteY0" fmla="*/ 0 h 779184"/>
                <a:gd name="connsiteX1" fmla="*/ 445383 w 612476"/>
                <a:gd name="connsiteY1" fmla="*/ 0 h 779184"/>
                <a:gd name="connsiteX2" fmla="*/ 612476 w 612476"/>
                <a:gd name="connsiteY2" fmla="*/ 155037 h 779184"/>
                <a:gd name="connsiteX3" fmla="*/ 612476 w 612476"/>
                <a:gd name="connsiteY3" fmla="*/ 779184 h 779184"/>
                <a:gd name="connsiteX4" fmla="*/ 0 w 612476"/>
                <a:gd name="connsiteY4" fmla="*/ 779184 h 779184"/>
                <a:gd name="connsiteX5" fmla="*/ 0 w 612476"/>
                <a:gd name="connsiteY5" fmla="*/ 0 h 779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2476" h="779184">
                  <a:moveTo>
                    <a:pt x="0" y="0"/>
                  </a:moveTo>
                  <a:lnTo>
                    <a:pt x="445383" y="0"/>
                  </a:lnTo>
                  <a:lnTo>
                    <a:pt x="612476" y="155037"/>
                  </a:lnTo>
                  <a:lnTo>
                    <a:pt x="612476" y="779184"/>
                  </a:lnTo>
                  <a:lnTo>
                    <a:pt x="0" y="779184"/>
                  </a:lnTo>
                  <a:lnTo>
                    <a:pt x="0" y="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5" name="Group 114">
              <a:extLst>
                <a:ext uri="{FF2B5EF4-FFF2-40B4-BE49-F238E27FC236}">
                  <a16:creationId xmlns:a16="http://schemas.microsoft.com/office/drawing/2014/main" id="{9BBA0BF8-EBCA-4BC5-8916-2F960B97B526}"/>
                </a:ext>
              </a:extLst>
            </p:cNvPr>
            <p:cNvGrpSpPr/>
            <p:nvPr/>
          </p:nvGrpSpPr>
          <p:grpSpPr>
            <a:xfrm>
              <a:off x="3654925" y="4417129"/>
              <a:ext cx="394936" cy="490637"/>
              <a:chOff x="5389394" y="4600627"/>
              <a:chExt cx="247650" cy="355600"/>
            </a:xfrm>
            <a:solidFill>
              <a:schemeClr val="accent1"/>
            </a:solidFill>
          </p:grpSpPr>
          <p:sp>
            <p:nvSpPr>
              <p:cNvPr id="117" name="Rectangle 224">
                <a:extLst>
                  <a:ext uri="{FF2B5EF4-FFF2-40B4-BE49-F238E27FC236}">
                    <a16:creationId xmlns:a16="http://schemas.microsoft.com/office/drawing/2014/main" id="{AB74C591-6A63-47EE-A677-7B438AFE57E0}"/>
                  </a:ext>
                </a:extLst>
              </p:cNvPr>
              <p:cNvSpPr>
                <a:spLocks noChangeArrowheads="1"/>
              </p:cNvSpPr>
              <p:nvPr/>
            </p:nvSpPr>
            <p:spPr bwMode="auto">
              <a:xfrm>
                <a:off x="5389394" y="4910189"/>
                <a:ext cx="2476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8" name="Rectangle 225">
                <a:extLst>
                  <a:ext uri="{FF2B5EF4-FFF2-40B4-BE49-F238E27FC236}">
                    <a16:creationId xmlns:a16="http://schemas.microsoft.com/office/drawing/2014/main" id="{CD433C96-29FC-4687-92F2-33595A769F34}"/>
                  </a:ext>
                </a:extLst>
              </p:cNvPr>
              <p:cNvSpPr>
                <a:spLocks noChangeArrowheads="1"/>
              </p:cNvSpPr>
              <p:nvPr/>
            </p:nvSpPr>
            <p:spPr bwMode="auto">
              <a:xfrm>
                <a:off x="5389394" y="4832402"/>
                <a:ext cx="2476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9" name="Rectangle 226">
                <a:extLst>
                  <a:ext uri="{FF2B5EF4-FFF2-40B4-BE49-F238E27FC236}">
                    <a16:creationId xmlns:a16="http://schemas.microsoft.com/office/drawing/2014/main" id="{6F9F1194-EB4C-47A8-944A-7A42663E69F0}"/>
                  </a:ext>
                </a:extLst>
              </p:cNvPr>
              <p:cNvSpPr>
                <a:spLocks noChangeArrowheads="1"/>
              </p:cNvSpPr>
              <p:nvPr/>
            </p:nvSpPr>
            <p:spPr bwMode="auto">
              <a:xfrm>
                <a:off x="5389394" y="4754614"/>
                <a:ext cx="24765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0" name="Rectangle 227">
                <a:extLst>
                  <a:ext uri="{FF2B5EF4-FFF2-40B4-BE49-F238E27FC236}">
                    <a16:creationId xmlns:a16="http://schemas.microsoft.com/office/drawing/2014/main" id="{78E45FB0-9806-4A02-A7BB-57CE776553F0}"/>
                  </a:ext>
                </a:extLst>
              </p:cNvPr>
              <p:cNvSpPr>
                <a:spLocks noChangeArrowheads="1"/>
              </p:cNvSpPr>
              <p:nvPr/>
            </p:nvSpPr>
            <p:spPr bwMode="auto">
              <a:xfrm>
                <a:off x="5389394" y="4678414"/>
                <a:ext cx="2476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1" name="Rectangle 228">
                <a:extLst>
                  <a:ext uri="{FF2B5EF4-FFF2-40B4-BE49-F238E27FC236}">
                    <a16:creationId xmlns:a16="http://schemas.microsoft.com/office/drawing/2014/main" id="{089AC5C6-878F-4874-A3B2-90C17A5E0D21}"/>
                  </a:ext>
                </a:extLst>
              </p:cNvPr>
              <p:cNvSpPr>
                <a:spLocks noChangeArrowheads="1"/>
              </p:cNvSpPr>
              <p:nvPr/>
            </p:nvSpPr>
            <p:spPr bwMode="auto">
              <a:xfrm>
                <a:off x="5389394" y="4600627"/>
                <a:ext cx="13970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16" name="Rectangle 69">
              <a:extLst>
                <a:ext uri="{FF2B5EF4-FFF2-40B4-BE49-F238E27FC236}">
                  <a16:creationId xmlns:a16="http://schemas.microsoft.com/office/drawing/2014/main" id="{0625D3E5-FB0E-400F-9F72-83FF865E6C9C}"/>
                </a:ext>
              </a:extLst>
            </p:cNvPr>
            <p:cNvSpPr/>
            <p:nvPr/>
          </p:nvSpPr>
          <p:spPr bwMode="auto">
            <a:xfrm>
              <a:off x="3987131" y="4270539"/>
              <a:ext cx="157976" cy="146578"/>
            </a:xfrm>
            <a:custGeom>
              <a:avLst/>
              <a:gdLst>
                <a:gd name="connsiteX0" fmla="*/ 0 w 167094"/>
                <a:gd name="connsiteY0" fmla="*/ 0 h 155038"/>
                <a:gd name="connsiteX1" fmla="*/ 167094 w 167094"/>
                <a:gd name="connsiteY1" fmla="*/ 0 h 155038"/>
                <a:gd name="connsiteX2" fmla="*/ 167094 w 167094"/>
                <a:gd name="connsiteY2" fmla="*/ 155038 h 155038"/>
                <a:gd name="connsiteX3" fmla="*/ 0 w 167094"/>
                <a:gd name="connsiteY3" fmla="*/ 155038 h 155038"/>
                <a:gd name="connsiteX4" fmla="*/ 0 w 167094"/>
                <a:gd name="connsiteY4" fmla="*/ 0 h 155038"/>
                <a:gd name="connsiteX0" fmla="*/ 0 w 167094"/>
                <a:gd name="connsiteY0" fmla="*/ 0 h 155038"/>
                <a:gd name="connsiteX1" fmla="*/ 167094 w 167094"/>
                <a:gd name="connsiteY1" fmla="*/ 155038 h 155038"/>
                <a:gd name="connsiteX2" fmla="*/ 0 w 167094"/>
                <a:gd name="connsiteY2" fmla="*/ 155038 h 155038"/>
                <a:gd name="connsiteX3" fmla="*/ 0 w 167094"/>
                <a:gd name="connsiteY3" fmla="*/ 0 h 155038"/>
              </a:gdLst>
              <a:ahLst/>
              <a:cxnLst>
                <a:cxn ang="0">
                  <a:pos x="connsiteX0" y="connsiteY0"/>
                </a:cxn>
                <a:cxn ang="0">
                  <a:pos x="connsiteX1" y="connsiteY1"/>
                </a:cxn>
                <a:cxn ang="0">
                  <a:pos x="connsiteX2" y="connsiteY2"/>
                </a:cxn>
                <a:cxn ang="0">
                  <a:pos x="connsiteX3" y="connsiteY3"/>
                </a:cxn>
              </a:cxnLst>
              <a:rect l="l" t="t" r="r" b="b"/>
              <a:pathLst>
                <a:path w="167094" h="155038">
                  <a:moveTo>
                    <a:pt x="0" y="0"/>
                  </a:moveTo>
                  <a:lnTo>
                    <a:pt x="167094" y="155038"/>
                  </a:lnTo>
                  <a:lnTo>
                    <a:pt x="0" y="155038"/>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4" name="TextBox 123">
            <a:extLst>
              <a:ext uri="{FF2B5EF4-FFF2-40B4-BE49-F238E27FC236}">
                <a16:creationId xmlns:a16="http://schemas.microsoft.com/office/drawing/2014/main" id="{6BC10017-42C9-4CDC-AB6C-725438C1CCEE}"/>
              </a:ext>
            </a:extLst>
          </p:cNvPr>
          <p:cNvSpPr txBox="1"/>
          <p:nvPr/>
        </p:nvSpPr>
        <p:spPr>
          <a:xfrm>
            <a:off x="286657" y="5462703"/>
            <a:ext cx="1970314" cy="338554"/>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200" b="0" i="0" u="none" strike="noStrike" kern="0" cap="none" spc="0" normalizeH="0" baseline="0">
                <a:ln>
                  <a:noFill/>
                </a:ln>
                <a:solidFill>
                  <a:prstClr val="white"/>
                </a:solidFill>
                <a:effectLst/>
                <a:uLnTx/>
                <a:uFillTx/>
                <a:latin typeface="Segoe UI Semibold"/>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Semibold"/>
                <a:ea typeface="+mn-ea"/>
                <a:cs typeface="Segoe UI Semibold" panose="020B0702040204020203" pitchFamily="34" charset="0"/>
              </a:rPr>
              <a:t>Azure Blob Storage</a:t>
            </a:r>
          </a:p>
        </p:txBody>
      </p:sp>
      <p:cxnSp>
        <p:nvCxnSpPr>
          <p:cNvPr id="13" name="Connector: Elbow 12">
            <a:extLst>
              <a:ext uri="{FF2B5EF4-FFF2-40B4-BE49-F238E27FC236}">
                <a16:creationId xmlns:a16="http://schemas.microsoft.com/office/drawing/2014/main" id="{C2CEA207-2192-44D5-9406-7563D095A11A}"/>
              </a:ext>
            </a:extLst>
          </p:cNvPr>
          <p:cNvCxnSpPr/>
          <p:nvPr/>
        </p:nvCxnSpPr>
        <p:spPr>
          <a:xfrm>
            <a:off x="7783827" y="3058694"/>
            <a:ext cx="920565" cy="327677"/>
          </a:xfrm>
          <a:prstGeom prst="bentConnector3">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6" name="Connector: Elbow 125">
            <a:extLst>
              <a:ext uri="{FF2B5EF4-FFF2-40B4-BE49-F238E27FC236}">
                <a16:creationId xmlns:a16="http://schemas.microsoft.com/office/drawing/2014/main" id="{6E9200C6-0C0E-4D38-BEDD-A215718AEF15}"/>
              </a:ext>
            </a:extLst>
          </p:cNvPr>
          <p:cNvCxnSpPr>
            <a:cxnSpLocks/>
          </p:cNvCxnSpPr>
          <p:nvPr/>
        </p:nvCxnSpPr>
        <p:spPr>
          <a:xfrm flipV="1">
            <a:off x="5754114" y="3383032"/>
            <a:ext cx="2950278" cy="1050112"/>
          </a:xfrm>
          <a:prstGeom prst="bentConnector3">
            <a:avLst>
              <a:gd name="adj1" fmla="val 84314"/>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45105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8" fill="hold" grpId="0" nodeType="clickEffect">
                                  <p:stCondLst>
                                    <p:cond delay="0"/>
                                  </p:stCondLst>
                                  <p:childTnLst>
                                    <p:set>
                                      <p:cBhvr>
                                        <p:cTn id="6" dur="1" fill="hold">
                                          <p:stCondLst>
                                            <p:cond delay="0"/>
                                          </p:stCondLst>
                                        </p:cTn>
                                        <p:tgtEl>
                                          <p:spTgt spid="184"/>
                                        </p:tgtEl>
                                        <p:attrNameLst>
                                          <p:attrName>style.visibility</p:attrName>
                                        </p:attrNameLst>
                                      </p:cBhvr>
                                      <p:to>
                                        <p:strVal val="visible"/>
                                      </p:to>
                                    </p:set>
                                    <p:anim calcmode="lin" valueType="num">
                                      <p:cBhvr additive="base">
                                        <p:cTn id="7" dur="500"/>
                                        <p:tgtEl>
                                          <p:spTgt spid="184"/>
                                        </p:tgtEl>
                                        <p:attrNameLst>
                                          <p:attrName>ppt_x</p:attrName>
                                        </p:attrNameLst>
                                      </p:cBhvr>
                                      <p:tavLst>
                                        <p:tav tm="0">
                                          <p:val>
                                            <p:strVal val="#ppt_x-#ppt_w*1.125000"/>
                                          </p:val>
                                        </p:tav>
                                        <p:tav tm="100000">
                                          <p:val>
                                            <p:strVal val="#ppt_x"/>
                                          </p:val>
                                        </p:tav>
                                      </p:tavLst>
                                    </p:anim>
                                    <p:animEffect transition="in" filter="wipe(right)">
                                      <p:cBhvr>
                                        <p:cTn id="8" dur="500"/>
                                        <p:tgtEl>
                                          <p:spTgt spid="184"/>
                                        </p:tgtEl>
                                      </p:cBhvr>
                                    </p:animEffect>
                                  </p:childTnLst>
                                </p:cTn>
                              </p:par>
                              <p:par>
                                <p:cTn id="9" presetID="10" presetClass="entr" presetSubtype="0" fill="hold" grpId="0" nodeType="withEffect">
                                  <p:stCondLst>
                                    <p:cond delay="0"/>
                                  </p:stCondLst>
                                  <p:childTnLst>
                                    <p:set>
                                      <p:cBhvr>
                                        <p:cTn id="10" dur="1" fill="hold">
                                          <p:stCondLst>
                                            <p:cond delay="0"/>
                                          </p:stCondLst>
                                        </p:cTn>
                                        <p:tgtEl>
                                          <p:spTgt spid="352"/>
                                        </p:tgtEl>
                                        <p:attrNameLst>
                                          <p:attrName>style.visibility</p:attrName>
                                        </p:attrNameLst>
                                      </p:cBhvr>
                                      <p:to>
                                        <p:strVal val="visible"/>
                                      </p:to>
                                    </p:set>
                                    <p:animEffect transition="in" filter="fade">
                                      <p:cBhvr>
                                        <p:cTn id="11" dur="500"/>
                                        <p:tgtEl>
                                          <p:spTgt spid="35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10"/>
                                        </p:tgtEl>
                                        <p:attrNameLst>
                                          <p:attrName>style.visibility</p:attrName>
                                        </p:attrNameLst>
                                      </p:cBhvr>
                                      <p:to>
                                        <p:strVal val="visible"/>
                                      </p:to>
                                    </p:set>
                                    <p:animEffect transition="in" filter="fade">
                                      <p:cBhvr>
                                        <p:cTn id="14" dur="500"/>
                                        <p:tgtEl>
                                          <p:spTgt spid="110"/>
                                        </p:tgtEl>
                                      </p:cBhvr>
                                    </p:animEffec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332"/>
                                        </p:tgtEl>
                                        <p:attrNameLst>
                                          <p:attrName>style.visibility</p:attrName>
                                        </p:attrNameLst>
                                      </p:cBhvr>
                                      <p:to>
                                        <p:strVal val="visible"/>
                                      </p:to>
                                    </p:set>
                                    <p:animEffect transition="in" filter="fade">
                                      <p:cBhvr>
                                        <p:cTn id="18" dur="500"/>
                                        <p:tgtEl>
                                          <p:spTgt spid="332"/>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33"/>
                                        </p:tgtEl>
                                        <p:attrNameLst>
                                          <p:attrName>style.visibility</p:attrName>
                                        </p:attrNameLst>
                                      </p:cBhvr>
                                      <p:to>
                                        <p:strVal val="visible"/>
                                      </p:to>
                                    </p:set>
                                    <p:animEffect transition="in" filter="fade">
                                      <p:cBhvr>
                                        <p:cTn id="21" dur="500"/>
                                        <p:tgtEl>
                                          <p:spTgt spid="33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34"/>
                                        </p:tgtEl>
                                        <p:attrNameLst>
                                          <p:attrName>style.visibility</p:attrName>
                                        </p:attrNameLst>
                                      </p:cBhvr>
                                      <p:to>
                                        <p:strVal val="visible"/>
                                      </p:to>
                                    </p:set>
                                    <p:animEffect transition="in" filter="fade">
                                      <p:cBhvr>
                                        <p:cTn id="24" dur="500"/>
                                        <p:tgtEl>
                                          <p:spTgt spid="33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5"/>
                                        </p:tgtEl>
                                        <p:attrNameLst>
                                          <p:attrName>style.visibility</p:attrName>
                                        </p:attrNameLst>
                                      </p:cBhvr>
                                      <p:to>
                                        <p:strVal val="visible"/>
                                      </p:to>
                                    </p:set>
                                    <p:animEffect transition="in" filter="fade">
                                      <p:cBhvr>
                                        <p:cTn id="27" dur="500"/>
                                        <p:tgtEl>
                                          <p:spTgt spid="33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55"/>
                                        </p:tgtEl>
                                        <p:attrNameLst>
                                          <p:attrName>style.visibility</p:attrName>
                                        </p:attrNameLst>
                                      </p:cBhvr>
                                      <p:to>
                                        <p:strVal val="visible"/>
                                      </p:to>
                                    </p:set>
                                    <p:animEffect transition="in" filter="fade">
                                      <p:cBhvr>
                                        <p:cTn id="30" dur="500"/>
                                        <p:tgtEl>
                                          <p:spTgt spid="355"/>
                                        </p:tgtEl>
                                      </p:cBhvr>
                                    </p:animEffect>
                                  </p:childTnLst>
                                </p:cTn>
                              </p:par>
                              <p:par>
                                <p:cTn id="31" presetID="10" presetClass="entr" presetSubtype="0" fill="hold" nodeType="withEffect">
                                  <p:stCondLst>
                                    <p:cond delay="0"/>
                                  </p:stCondLst>
                                  <p:childTnLst>
                                    <p:set>
                                      <p:cBhvr>
                                        <p:cTn id="32" dur="1" fill="hold">
                                          <p:stCondLst>
                                            <p:cond delay="0"/>
                                          </p:stCondLst>
                                        </p:cTn>
                                        <p:tgtEl>
                                          <p:spTgt spid="363"/>
                                        </p:tgtEl>
                                        <p:attrNameLst>
                                          <p:attrName>style.visibility</p:attrName>
                                        </p:attrNameLst>
                                      </p:cBhvr>
                                      <p:to>
                                        <p:strVal val="visible"/>
                                      </p:to>
                                    </p:set>
                                    <p:animEffect transition="in" filter="fade">
                                      <p:cBhvr>
                                        <p:cTn id="33" dur="500"/>
                                        <p:tgtEl>
                                          <p:spTgt spid="363"/>
                                        </p:tgtEl>
                                      </p:cBhvr>
                                    </p:animEffect>
                                  </p:childTnLst>
                                </p:cTn>
                              </p:par>
                              <p:par>
                                <p:cTn id="34" presetID="10" presetClass="entr" presetSubtype="0" fill="hold" nodeType="withEffect">
                                  <p:stCondLst>
                                    <p:cond delay="0"/>
                                  </p:stCondLst>
                                  <p:childTnLst>
                                    <p:set>
                                      <p:cBhvr>
                                        <p:cTn id="35" dur="1" fill="hold">
                                          <p:stCondLst>
                                            <p:cond delay="0"/>
                                          </p:stCondLst>
                                        </p:cTn>
                                        <p:tgtEl>
                                          <p:spTgt spid="366"/>
                                        </p:tgtEl>
                                        <p:attrNameLst>
                                          <p:attrName>style.visibility</p:attrName>
                                        </p:attrNameLst>
                                      </p:cBhvr>
                                      <p:to>
                                        <p:strVal val="visible"/>
                                      </p:to>
                                    </p:set>
                                    <p:animEffect transition="in" filter="fade">
                                      <p:cBhvr>
                                        <p:cTn id="36" dur="500"/>
                                        <p:tgtEl>
                                          <p:spTgt spid="366"/>
                                        </p:tgtEl>
                                      </p:cBhvr>
                                    </p:animEffect>
                                  </p:childTnLst>
                                </p:cTn>
                              </p:par>
                              <p:par>
                                <p:cTn id="37" presetID="10" presetClass="entr" presetSubtype="0" fill="hold" nodeType="withEffect">
                                  <p:stCondLst>
                                    <p:cond delay="0"/>
                                  </p:stCondLst>
                                  <p:childTnLst>
                                    <p:set>
                                      <p:cBhvr>
                                        <p:cTn id="38" dur="1" fill="hold">
                                          <p:stCondLst>
                                            <p:cond delay="0"/>
                                          </p:stCondLst>
                                        </p:cTn>
                                        <p:tgtEl>
                                          <p:spTgt spid="375"/>
                                        </p:tgtEl>
                                        <p:attrNameLst>
                                          <p:attrName>style.visibility</p:attrName>
                                        </p:attrNameLst>
                                      </p:cBhvr>
                                      <p:to>
                                        <p:strVal val="visible"/>
                                      </p:to>
                                    </p:set>
                                    <p:animEffect transition="in" filter="fade">
                                      <p:cBhvr>
                                        <p:cTn id="39" dur="500"/>
                                        <p:tgtEl>
                                          <p:spTgt spid="375"/>
                                        </p:tgtEl>
                                      </p:cBhvr>
                                    </p:animEffect>
                                  </p:childTnLst>
                                </p:cTn>
                              </p:par>
                              <p:par>
                                <p:cTn id="40" presetID="10" presetClass="entr" presetSubtype="0" fill="hold" nodeType="withEffect">
                                  <p:stCondLst>
                                    <p:cond delay="0"/>
                                  </p:stCondLst>
                                  <p:childTnLst>
                                    <p:set>
                                      <p:cBhvr>
                                        <p:cTn id="41" dur="1" fill="hold">
                                          <p:stCondLst>
                                            <p:cond delay="0"/>
                                          </p:stCondLst>
                                        </p:cTn>
                                        <p:tgtEl>
                                          <p:spTgt spid="9"/>
                                        </p:tgtEl>
                                        <p:attrNameLst>
                                          <p:attrName>style.visibility</p:attrName>
                                        </p:attrNameLst>
                                      </p:cBhvr>
                                      <p:to>
                                        <p:strVal val="visible"/>
                                      </p:to>
                                    </p:set>
                                    <p:animEffect transition="in" filter="fade">
                                      <p:cBhvr>
                                        <p:cTn id="42" dur="500"/>
                                        <p:tgtEl>
                                          <p:spTgt spid="9"/>
                                        </p:tgtEl>
                                      </p:cBhvr>
                                    </p:animEffect>
                                  </p:childTnLst>
                                </p:cTn>
                              </p:par>
                            </p:childTnLst>
                          </p:cTn>
                        </p:par>
                        <p:par>
                          <p:cTn id="43" fill="hold">
                            <p:stCondLst>
                              <p:cond delay="1000"/>
                            </p:stCondLst>
                            <p:childTnLst>
                              <p:par>
                                <p:cTn id="44" presetID="10" presetClass="entr" presetSubtype="0" fill="hold" nodeType="afterEffect">
                                  <p:stCondLst>
                                    <p:cond delay="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childTnLst>
                          </p:cTn>
                        </p:par>
                        <p:par>
                          <p:cTn id="47" fill="hold">
                            <p:stCondLst>
                              <p:cond delay="1500"/>
                            </p:stCondLst>
                            <p:childTnLst>
                              <p:par>
                                <p:cTn id="48" presetID="10" presetClass="entr" presetSubtype="0" fill="hold" grpId="0" nodeType="afterEffect">
                                  <p:stCondLst>
                                    <p:cond delay="0"/>
                                  </p:stCondLst>
                                  <p:childTnLst>
                                    <p:set>
                                      <p:cBhvr>
                                        <p:cTn id="49" dur="1" fill="hold">
                                          <p:stCondLst>
                                            <p:cond delay="0"/>
                                          </p:stCondLst>
                                        </p:cTn>
                                        <p:tgtEl>
                                          <p:spTgt spid="337"/>
                                        </p:tgtEl>
                                        <p:attrNameLst>
                                          <p:attrName>style.visibility</p:attrName>
                                        </p:attrNameLst>
                                      </p:cBhvr>
                                      <p:to>
                                        <p:strVal val="visible"/>
                                      </p:to>
                                    </p:set>
                                    <p:animEffect transition="in" filter="fade">
                                      <p:cBhvr>
                                        <p:cTn id="50" dur="500"/>
                                        <p:tgtEl>
                                          <p:spTgt spid="337"/>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38"/>
                                        </p:tgtEl>
                                        <p:attrNameLst>
                                          <p:attrName>style.visibility</p:attrName>
                                        </p:attrNameLst>
                                      </p:cBhvr>
                                      <p:to>
                                        <p:strVal val="visible"/>
                                      </p:to>
                                    </p:set>
                                    <p:animEffect transition="in" filter="fade">
                                      <p:cBhvr>
                                        <p:cTn id="53" dur="500"/>
                                        <p:tgtEl>
                                          <p:spTgt spid="338"/>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356"/>
                                        </p:tgtEl>
                                        <p:attrNameLst>
                                          <p:attrName>style.visibility</p:attrName>
                                        </p:attrNameLst>
                                      </p:cBhvr>
                                      <p:to>
                                        <p:strVal val="visible"/>
                                      </p:to>
                                    </p:set>
                                    <p:animEffect transition="in" filter="fade">
                                      <p:cBhvr>
                                        <p:cTn id="56" dur="500"/>
                                        <p:tgtEl>
                                          <p:spTgt spid="356"/>
                                        </p:tgtEl>
                                      </p:cBhvr>
                                    </p:animEffect>
                                  </p:childTnLst>
                                </p:cTn>
                              </p:par>
                              <p:par>
                                <p:cTn id="57" presetID="10" presetClass="entr" presetSubtype="0" fill="hold" nodeType="withEffect">
                                  <p:stCondLst>
                                    <p:cond delay="0"/>
                                  </p:stCondLst>
                                  <p:childTnLst>
                                    <p:set>
                                      <p:cBhvr>
                                        <p:cTn id="58" dur="1" fill="hold">
                                          <p:stCondLst>
                                            <p:cond delay="0"/>
                                          </p:stCondLst>
                                        </p:cTn>
                                        <p:tgtEl>
                                          <p:spTgt spid="16"/>
                                        </p:tgtEl>
                                        <p:attrNameLst>
                                          <p:attrName>style.visibility</p:attrName>
                                        </p:attrNameLst>
                                      </p:cBhvr>
                                      <p:to>
                                        <p:strVal val="visible"/>
                                      </p:to>
                                    </p:set>
                                    <p:animEffect transition="in" filter="fade">
                                      <p:cBhvr>
                                        <p:cTn id="59" dur="500"/>
                                        <p:tgtEl>
                                          <p:spTgt spid="16"/>
                                        </p:tgtEl>
                                      </p:cBhvr>
                                    </p:animEffect>
                                  </p:childTnLst>
                                </p:cTn>
                              </p:par>
                              <p:par>
                                <p:cTn id="60" presetID="10" presetClass="entr" presetSubtype="0" fill="hold" nodeType="withEffect">
                                  <p:stCondLst>
                                    <p:cond delay="0"/>
                                  </p:stCondLst>
                                  <p:childTnLst>
                                    <p:set>
                                      <p:cBhvr>
                                        <p:cTn id="61" dur="1" fill="hold">
                                          <p:stCondLst>
                                            <p:cond delay="0"/>
                                          </p:stCondLst>
                                        </p:cTn>
                                        <p:tgtEl>
                                          <p:spTgt spid="18"/>
                                        </p:tgtEl>
                                        <p:attrNameLst>
                                          <p:attrName>style.visibility</p:attrName>
                                        </p:attrNameLst>
                                      </p:cBhvr>
                                      <p:to>
                                        <p:strVal val="visible"/>
                                      </p:to>
                                    </p:set>
                                    <p:animEffect transition="in" filter="fade">
                                      <p:cBhvr>
                                        <p:cTn id="62" dur="500"/>
                                        <p:tgtEl>
                                          <p:spTgt spid="18"/>
                                        </p:tgtEl>
                                      </p:cBhvr>
                                    </p:animEffect>
                                  </p:childTnLst>
                                </p:cTn>
                              </p:par>
                            </p:childTnLst>
                          </p:cTn>
                        </p:par>
                        <p:par>
                          <p:cTn id="63" fill="hold">
                            <p:stCondLst>
                              <p:cond delay="2000"/>
                            </p:stCondLst>
                            <p:childTnLst>
                              <p:par>
                                <p:cTn id="64" presetID="22" presetClass="entr" presetSubtype="8" fill="hold" nodeType="afterEffect">
                                  <p:stCondLst>
                                    <p:cond delay="0"/>
                                  </p:stCondLst>
                                  <p:childTnLst>
                                    <p:set>
                                      <p:cBhvr>
                                        <p:cTn id="65" dur="1" fill="hold">
                                          <p:stCondLst>
                                            <p:cond delay="0"/>
                                          </p:stCondLst>
                                        </p:cTn>
                                        <p:tgtEl>
                                          <p:spTgt spid="13"/>
                                        </p:tgtEl>
                                        <p:attrNameLst>
                                          <p:attrName>style.visibility</p:attrName>
                                        </p:attrNameLst>
                                      </p:cBhvr>
                                      <p:to>
                                        <p:strVal val="visible"/>
                                      </p:to>
                                    </p:set>
                                    <p:animEffect transition="in" filter="wipe(left)">
                                      <p:cBhvr>
                                        <p:cTn id="66" dur="500"/>
                                        <p:tgtEl>
                                          <p:spTgt spid="13"/>
                                        </p:tgtEl>
                                      </p:cBhvr>
                                    </p:animEffect>
                                  </p:childTnLst>
                                </p:cTn>
                              </p:par>
                              <p:par>
                                <p:cTn id="67" presetID="22" presetClass="entr" presetSubtype="8" fill="hold" nodeType="withEffect">
                                  <p:stCondLst>
                                    <p:cond delay="0"/>
                                  </p:stCondLst>
                                  <p:childTnLst>
                                    <p:set>
                                      <p:cBhvr>
                                        <p:cTn id="68" dur="1" fill="hold">
                                          <p:stCondLst>
                                            <p:cond delay="0"/>
                                          </p:stCondLst>
                                        </p:cTn>
                                        <p:tgtEl>
                                          <p:spTgt spid="126"/>
                                        </p:tgtEl>
                                        <p:attrNameLst>
                                          <p:attrName>style.visibility</p:attrName>
                                        </p:attrNameLst>
                                      </p:cBhvr>
                                      <p:to>
                                        <p:strVal val="visible"/>
                                      </p:to>
                                    </p:set>
                                    <p:animEffect transition="in" filter="wipe(left)">
                                      <p:cBhvr>
                                        <p:cTn id="69" dur="500"/>
                                        <p:tgtEl>
                                          <p:spTgt spid="126"/>
                                        </p:tgtEl>
                                      </p:cBhvr>
                                    </p:animEffect>
                                  </p:childTnLst>
                                </p:cTn>
                              </p:par>
                            </p:childTnLst>
                          </p:cTn>
                        </p:par>
                        <p:par>
                          <p:cTn id="70" fill="hold">
                            <p:stCondLst>
                              <p:cond delay="2500"/>
                            </p:stCondLst>
                            <p:childTnLst>
                              <p:par>
                                <p:cTn id="71" presetID="10" presetClass="entr" presetSubtype="0" fill="hold" nodeType="afterEffect">
                                  <p:stCondLst>
                                    <p:cond delay="0"/>
                                  </p:stCondLst>
                                  <p:childTnLst>
                                    <p:set>
                                      <p:cBhvr>
                                        <p:cTn id="72" dur="1" fill="hold">
                                          <p:stCondLst>
                                            <p:cond delay="0"/>
                                          </p:stCondLst>
                                        </p:cTn>
                                        <p:tgtEl>
                                          <p:spTgt spid="3"/>
                                        </p:tgtEl>
                                        <p:attrNameLst>
                                          <p:attrName>style.visibility</p:attrName>
                                        </p:attrNameLst>
                                      </p:cBhvr>
                                      <p:to>
                                        <p:strVal val="visible"/>
                                      </p:to>
                                    </p:set>
                                    <p:animEffect transition="in" filter="fade">
                                      <p:cBhvr>
                                        <p:cTn id="73" dur="500"/>
                                        <p:tgtEl>
                                          <p:spTgt spid="3"/>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22"/>
                                        </p:tgtEl>
                                        <p:attrNameLst>
                                          <p:attrName>style.visibility</p:attrName>
                                        </p:attrNameLst>
                                      </p:cBhvr>
                                      <p:to>
                                        <p:strVal val="visible"/>
                                      </p:to>
                                    </p:set>
                                    <p:animEffect transition="in" filter="fade">
                                      <p:cBhvr>
                                        <p:cTn id="76" dur="500"/>
                                        <p:tgtEl>
                                          <p:spTgt spid="122"/>
                                        </p:tgtEl>
                                      </p:cBhvr>
                                    </p:animEffect>
                                  </p:childTnLst>
                                </p:cTn>
                              </p:par>
                            </p:childTnLst>
                          </p:cTn>
                        </p:par>
                      </p:childTnLst>
                    </p:cTn>
                  </p:par>
                  <p:par>
                    <p:cTn id="77" fill="hold">
                      <p:stCondLst>
                        <p:cond delay="indefinite"/>
                      </p:stCondLst>
                      <p:childTnLst>
                        <p:par>
                          <p:cTn id="78" fill="hold">
                            <p:stCondLst>
                              <p:cond delay="0"/>
                            </p:stCondLst>
                            <p:childTnLst>
                              <p:par>
                                <p:cTn id="79" presetID="12" presetClass="entr" presetSubtype="8" fill="hold" grpId="0" nodeType="clickEffect">
                                  <p:stCondLst>
                                    <p:cond delay="0"/>
                                  </p:stCondLst>
                                  <p:childTnLst>
                                    <p:set>
                                      <p:cBhvr>
                                        <p:cTn id="80" dur="1" fill="hold">
                                          <p:stCondLst>
                                            <p:cond delay="0"/>
                                          </p:stCondLst>
                                        </p:cTn>
                                        <p:tgtEl>
                                          <p:spTgt spid="111"/>
                                        </p:tgtEl>
                                        <p:attrNameLst>
                                          <p:attrName>style.visibility</p:attrName>
                                        </p:attrNameLst>
                                      </p:cBhvr>
                                      <p:to>
                                        <p:strVal val="visible"/>
                                      </p:to>
                                    </p:set>
                                    <p:anim calcmode="lin" valueType="num">
                                      <p:cBhvr additive="base">
                                        <p:cTn id="81" dur="500"/>
                                        <p:tgtEl>
                                          <p:spTgt spid="111"/>
                                        </p:tgtEl>
                                        <p:attrNameLst>
                                          <p:attrName>ppt_x</p:attrName>
                                        </p:attrNameLst>
                                      </p:cBhvr>
                                      <p:tavLst>
                                        <p:tav tm="0">
                                          <p:val>
                                            <p:strVal val="#ppt_x-#ppt_w*1.125000"/>
                                          </p:val>
                                        </p:tav>
                                        <p:tav tm="100000">
                                          <p:val>
                                            <p:strVal val="#ppt_x"/>
                                          </p:val>
                                        </p:tav>
                                      </p:tavLst>
                                    </p:anim>
                                    <p:animEffect transition="in" filter="wipe(right)">
                                      <p:cBhvr>
                                        <p:cTn id="82" dur="500"/>
                                        <p:tgtEl>
                                          <p:spTgt spid="111"/>
                                        </p:tgtEl>
                                      </p:cBhvr>
                                    </p:animEffect>
                                  </p:childTnLst>
                                </p:cTn>
                              </p:par>
                            </p:childTnLst>
                          </p:cTn>
                        </p:par>
                        <p:par>
                          <p:cTn id="83" fill="hold">
                            <p:stCondLst>
                              <p:cond delay="500"/>
                            </p:stCondLst>
                            <p:childTnLst>
                              <p:par>
                                <p:cTn id="84" presetID="10" presetClass="entr" presetSubtype="0" fill="hold" grpId="0" nodeType="afterEffect">
                                  <p:stCondLst>
                                    <p:cond delay="0"/>
                                  </p:stCondLst>
                                  <p:childTnLst>
                                    <p:set>
                                      <p:cBhvr>
                                        <p:cTn id="85" dur="1" fill="hold">
                                          <p:stCondLst>
                                            <p:cond delay="0"/>
                                          </p:stCondLst>
                                        </p:cTn>
                                        <p:tgtEl>
                                          <p:spTgt spid="341"/>
                                        </p:tgtEl>
                                        <p:attrNameLst>
                                          <p:attrName>style.visibility</p:attrName>
                                        </p:attrNameLst>
                                      </p:cBhvr>
                                      <p:to>
                                        <p:strVal val="visible"/>
                                      </p:to>
                                    </p:set>
                                    <p:animEffect transition="in" filter="fade">
                                      <p:cBhvr>
                                        <p:cTn id="86" dur="500"/>
                                        <p:tgtEl>
                                          <p:spTgt spid="341"/>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354"/>
                                        </p:tgtEl>
                                        <p:attrNameLst>
                                          <p:attrName>style.visibility</p:attrName>
                                        </p:attrNameLst>
                                      </p:cBhvr>
                                      <p:to>
                                        <p:strVal val="visible"/>
                                      </p:to>
                                    </p:set>
                                    <p:animEffect transition="in" filter="fade">
                                      <p:cBhvr>
                                        <p:cTn id="89" dur="500"/>
                                        <p:tgtEl>
                                          <p:spTgt spid="354"/>
                                        </p:tgtEl>
                                      </p:cBhvr>
                                    </p:animEffect>
                                  </p:childTnLst>
                                </p:cTn>
                              </p:par>
                              <p:par>
                                <p:cTn id="90" presetID="10" presetClass="entr" presetSubtype="0" fill="hold" nodeType="withEffect">
                                  <p:stCondLst>
                                    <p:cond delay="0"/>
                                  </p:stCondLst>
                                  <p:childTnLst>
                                    <p:set>
                                      <p:cBhvr>
                                        <p:cTn id="91" dur="1" fill="hold">
                                          <p:stCondLst>
                                            <p:cond delay="0"/>
                                          </p:stCondLst>
                                        </p:cTn>
                                        <p:tgtEl>
                                          <p:spTgt spid="12"/>
                                        </p:tgtEl>
                                        <p:attrNameLst>
                                          <p:attrName>style.visibility</p:attrName>
                                        </p:attrNameLst>
                                      </p:cBhvr>
                                      <p:to>
                                        <p:strVal val="visible"/>
                                      </p:to>
                                    </p:set>
                                    <p:animEffect transition="in" filter="fade">
                                      <p:cBhvr>
                                        <p:cTn id="9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2" grpId="0"/>
      <p:bldP spid="333" grpId="0"/>
      <p:bldP spid="334" grpId="0"/>
      <p:bldP spid="335" grpId="0"/>
      <p:bldP spid="337" grpId="0"/>
      <p:bldP spid="338" grpId="0"/>
      <p:bldP spid="341" grpId="0"/>
      <p:bldP spid="352" grpId="0"/>
      <p:bldP spid="354" grpId="0"/>
      <p:bldP spid="355" grpId="0"/>
      <p:bldP spid="356" grpId="0"/>
      <p:bldP spid="111" grpId="0" animBg="1"/>
      <p:bldP spid="184" grpId="0" animBg="1"/>
      <p:bldP spid="110" grpId="0"/>
      <p:bldP spid="12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6" name="Picture 85">
            <a:extLst>
              <a:ext uri="{FF2B5EF4-FFF2-40B4-BE49-F238E27FC236}">
                <a16:creationId xmlns:a16="http://schemas.microsoft.com/office/drawing/2014/main" id="{B745E3D3-9861-2246-AFAF-28463CAE7CAD}"/>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11113006" y="6373966"/>
            <a:ext cx="1078992" cy="483531"/>
          </a:xfrm>
          <a:prstGeom prst="rect">
            <a:avLst/>
          </a:prstGeom>
        </p:spPr>
      </p:pic>
      <p:sp>
        <p:nvSpPr>
          <p:cNvPr id="5" name="TextBox 4">
            <a:extLst>
              <a:ext uri="{FF2B5EF4-FFF2-40B4-BE49-F238E27FC236}">
                <a16:creationId xmlns:a16="http://schemas.microsoft.com/office/drawing/2014/main" id="{40963153-0B1A-442F-93E1-8801F57EA546}"/>
              </a:ext>
            </a:extLst>
          </p:cNvPr>
          <p:cNvSpPr txBox="1"/>
          <p:nvPr/>
        </p:nvSpPr>
        <p:spPr>
          <a:xfrm>
            <a:off x="3238373" y="202839"/>
            <a:ext cx="1096775"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1" dirty="0">
                <a:solidFill>
                  <a:prstClr val="white"/>
                </a:solidFill>
                <a:latin typeface="Calibri" panose="020F0502020204030204"/>
              </a:rPr>
              <a:t>Goals</a:t>
            </a:r>
            <a:r>
              <a:rPr kumimoji="0" lang="en-US" sz="2800" b="1"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sp>
        <p:nvSpPr>
          <p:cNvPr id="6" name="TextBox 5">
            <a:extLst>
              <a:ext uri="{FF2B5EF4-FFF2-40B4-BE49-F238E27FC236}">
                <a16:creationId xmlns:a16="http://schemas.microsoft.com/office/drawing/2014/main" id="{413693E6-E213-451B-A368-E91AF6250EA8}"/>
              </a:ext>
            </a:extLst>
          </p:cNvPr>
          <p:cNvSpPr txBox="1"/>
          <p:nvPr/>
        </p:nvSpPr>
        <p:spPr>
          <a:xfrm>
            <a:off x="5716437" y="258960"/>
            <a:ext cx="5102872" cy="369332"/>
          </a:xfrm>
          <a:prstGeom prst="rect">
            <a:avLst/>
          </a:prstGeom>
          <a:noFill/>
        </p:spPr>
        <p:txBody>
          <a:bodyPr wrap="none" rtlCol="0">
            <a:spAutoFit/>
          </a:bodyPr>
          <a:lstStyle/>
          <a:p>
            <a:r>
              <a:rPr lang="en-US" dirty="0"/>
              <a:t>This is a learning event : Stop us , Ask Questions </a:t>
            </a:r>
          </a:p>
        </p:txBody>
      </p:sp>
      <p:sp>
        <p:nvSpPr>
          <p:cNvPr id="8" name="TextBox 7">
            <a:extLst>
              <a:ext uri="{FF2B5EF4-FFF2-40B4-BE49-F238E27FC236}">
                <a16:creationId xmlns:a16="http://schemas.microsoft.com/office/drawing/2014/main" id="{10CCE713-6A37-4FE0-B300-FFAC84C5652B}"/>
              </a:ext>
            </a:extLst>
          </p:cNvPr>
          <p:cNvSpPr txBox="1"/>
          <p:nvPr/>
        </p:nvSpPr>
        <p:spPr>
          <a:xfrm>
            <a:off x="867266" y="1889246"/>
            <a:ext cx="10718277" cy="3477875"/>
          </a:xfrm>
          <a:prstGeom prst="rect">
            <a:avLst/>
          </a:prstGeom>
          <a:noFill/>
        </p:spPr>
        <p:txBody>
          <a:bodyPr wrap="square" rtlCol="0">
            <a:spAutoFit/>
          </a:bodyPr>
          <a:lstStyle/>
          <a:p>
            <a:pPr marL="285750" indent="-285750">
              <a:buFont typeface="Arial" panose="020B0604020202020204" pitchFamily="34" charset="0"/>
              <a:buChar char="•"/>
            </a:pPr>
            <a:r>
              <a:rPr lang="en-US" sz="2000" b="0" i="0" u="none" strike="noStrike" dirty="0">
                <a:effectLst/>
              </a:rPr>
              <a:t>Learn how to solve real-world Insurance, Banking, and Capital Markets data challenges with Microsoft Azure AI &amp; Analytics</a:t>
            </a:r>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Understand the common business scenarios in Financial Services as it relates to Analytics, AI and ML.</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Provide an overview of the high-level architecture and how the solution will be put together.</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Provide step by step guidance on creating the solution.</a:t>
            </a:r>
          </a:p>
          <a:p>
            <a:endParaRPr lang="en-US" sz="2000" dirty="0"/>
          </a:p>
        </p:txBody>
      </p:sp>
      <p:sp>
        <p:nvSpPr>
          <p:cNvPr id="4" name="TextBox 3">
            <a:extLst>
              <a:ext uri="{FF2B5EF4-FFF2-40B4-BE49-F238E27FC236}">
                <a16:creationId xmlns:a16="http://schemas.microsoft.com/office/drawing/2014/main" id="{8251D28D-FB0C-4D7A-B2D3-A9E7575B8760}"/>
              </a:ext>
            </a:extLst>
          </p:cNvPr>
          <p:cNvSpPr txBox="1"/>
          <p:nvPr/>
        </p:nvSpPr>
        <p:spPr>
          <a:xfrm>
            <a:off x="867266" y="1051927"/>
            <a:ext cx="10793690" cy="646331"/>
          </a:xfrm>
          <a:prstGeom prst="rect">
            <a:avLst/>
          </a:prstGeom>
          <a:noFill/>
        </p:spPr>
        <p:txBody>
          <a:bodyPr wrap="square">
            <a:spAutoFit/>
          </a:bodyPr>
          <a:lstStyle/>
          <a:p>
            <a:pPr algn="l" rtl="0" fontAlgn="base"/>
            <a:r>
              <a:rPr lang="en-US" b="0" i="0" u="none" strike="noStrike" dirty="0">
                <a:effectLst/>
                <a:latin typeface="Calibri" panose="020F0502020204030204" pitchFamily="34" charset="0"/>
              </a:rPr>
              <a:t>Hack and learn with team of Microsoft’s expert cloud architects and industry specialists for financial services business use cases.  </a:t>
            </a:r>
            <a:r>
              <a:rPr lang="en-US" b="0" i="0" dirty="0">
                <a:effectLst/>
                <a:latin typeface="Calibri" panose="020F0502020204030204" pitchFamily="34" charset="0"/>
              </a:rPr>
              <a:t>​</a:t>
            </a:r>
            <a:endParaRPr lang="en-US" b="0" i="0" dirty="0">
              <a:effectLst/>
              <a:latin typeface="Segoe UI" panose="020B0502040204020203" pitchFamily="34" charset="0"/>
            </a:endParaRPr>
          </a:p>
        </p:txBody>
      </p:sp>
    </p:spTree>
    <p:extLst>
      <p:ext uri="{BB962C8B-B14F-4D97-AF65-F5344CB8AC3E}">
        <p14:creationId xmlns:p14="http://schemas.microsoft.com/office/powerpoint/2010/main" val="15799973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6" name="Picture 85">
            <a:extLst>
              <a:ext uri="{FF2B5EF4-FFF2-40B4-BE49-F238E27FC236}">
                <a16:creationId xmlns:a16="http://schemas.microsoft.com/office/drawing/2014/main" id="{B745E3D3-9861-2246-AFAF-28463CAE7CAD}"/>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11113006" y="6373966"/>
            <a:ext cx="1078992" cy="483531"/>
          </a:xfrm>
          <a:prstGeom prst="rect">
            <a:avLst/>
          </a:prstGeom>
        </p:spPr>
      </p:pic>
      <p:sp>
        <p:nvSpPr>
          <p:cNvPr id="5" name="TextBox 4">
            <a:extLst>
              <a:ext uri="{FF2B5EF4-FFF2-40B4-BE49-F238E27FC236}">
                <a16:creationId xmlns:a16="http://schemas.microsoft.com/office/drawing/2014/main" id="{40963153-0B1A-442F-93E1-8801F57EA546}"/>
              </a:ext>
            </a:extLst>
          </p:cNvPr>
          <p:cNvSpPr txBox="1"/>
          <p:nvPr/>
        </p:nvSpPr>
        <p:spPr>
          <a:xfrm>
            <a:off x="3595652" y="297108"/>
            <a:ext cx="4614854"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Calibri" panose="020F0502020204030204"/>
                <a:ea typeface="+mn-ea"/>
                <a:cs typeface="+mn-cs"/>
              </a:rPr>
              <a:t>Use cases/Business scenarios </a:t>
            </a:r>
            <a:endParaRPr kumimoji="0" lang="en-US" sz="2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10CCE713-6A37-4FE0-B300-FFAC84C5652B}"/>
              </a:ext>
            </a:extLst>
          </p:cNvPr>
          <p:cNvSpPr txBox="1"/>
          <p:nvPr/>
        </p:nvSpPr>
        <p:spPr>
          <a:xfrm>
            <a:off x="428445" y="2711425"/>
            <a:ext cx="5218982" cy="3662541"/>
          </a:xfrm>
          <a:prstGeom prst="rect">
            <a:avLst/>
          </a:prstGeom>
          <a:noFill/>
        </p:spPr>
        <p:txBody>
          <a:bodyPr wrap="square" rtlCol="0">
            <a:spAutoFit/>
          </a:bodyPr>
          <a:lstStyle/>
          <a:p>
            <a:r>
              <a:rPr lang="en-US" sz="1800" dirty="0">
                <a:effectLst/>
                <a:ea typeface="Calibri" panose="020F0502020204030204" pitchFamily="34" charset="0"/>
              </a:rPr>
              <a:t>Handling Claims processing through an intelligent agent with cognitive skills to handle image, ID, and documents with goal to reduce claims processing time and manual effort in end-to-end claims processing for better customer experience </a:t>
            </a:r>
          </a:p>
          <a:p>
            <a:endParaRPr lang="en-US" dirty="0"/>
          </a:p>
          <a:p>
            <a:r>
              <a:rPr lang="en-US" sz="1800" dirty="0"/>
              <a:t>The solution will showcase Azure platform’s machine learning capability to recognize document type, extract required fields and push data to downstream applications, significantly reducing manual efforts and creating smoother customer experience</a:t>
            </a:r>
            <a:r>
              <a:rPr lang="en-US" sz="1800" b="0" i="0" dirty="0">
                <a:effectLst/>
              </a:rPr>
              <a:t>.</a:t>
            </a:r>
            <a:endParaRPr lang="en-US" sz="1800" dirty="0">
              <a:effectLst/>
              <a:ea typeface="Calibri" panose="020F0502020204030204" pitchFamily="34" charset="0"/>
            </a:endParaRPr>
          </a:p>
          <a:p>
            <a:endParaRPr lang="en-US" sz="1600" dirty="0"/>
          </a:p>
        </p:txBody>
      </p:sp>
      <p:sp>
        <p:nvSpPr>
          <p:cNvPr id="7" name="TextBox 6">
            <a:extLst>
              <a:ext uri="{FF2B5EF4-FFF2-40B4-BE49-F238E27FC236}">
                <a16:creationId xmlns:a16="http://schemas.microsoft.com/office/drawing/2014/main" id="{76CEFA39-2A8D-4535-AC13-EB6BFE4FF900}"/>
              </a:ext>
            </a:extLst>
          </p:cNvPr>
          <p:cNvSpPr txBox="1"/>
          <p:nvPr/>
        </p:nvSpPr>
        <p:spPr>
          <a:xfrm>
            <a:off x="428445" y="1755801"/>
            <a:ext cx="5552536" cy="369332"/>
          </a:xfrm>
          <a:prstGeom prst="rect">
            <a:avLst/>
          </a:prstGeom>
          <a:noFill/>
        </p:spPr>
        <p:txBody>
          <a:bodyPr wrap="square">
            <a:spAutoFit/>
          </a:bodyPr>
          <a:lstStyle/>
          <a:p>
            <a:r>
              <a:rPr lang="en-US" b="0" i="0" dirty="0">
                <a:effectLst/>
                <a:latin typeface="Calibri" panose="020F0502020204030204" pitchFamily="34" charset="0"/>
              </a:rPr>
              <a:t>AI-Powered Insurance Claims Automation</a:t>
            </a:r>
            <a:endParaRPr lang="en-US" dirty="0"/>
          </a:p>
        </p:txBody>
      </p:sp>
      <p:sp>
        <p:nvSpPr>
          <p:cNvPr id="4" name="TextBox 3">
            <a:extLst>
              <a:ext uri="{FF2B5EF4-FFF2-40B4-BE49-F238E27FC236}">
                <a16:creationId xmlns:a16="http://schemas.microsoft.com/office/drawing/2014/main" id="{74E02D5C-C5C0-442B-B9E2-244D0655BC90}"/>
              </a:ext>
            </a:extLst>
          </p:cNvPr>
          <p:cNvSpPr txBox="1"/>
          <p:nvPr/>
        </p:nvSpPr>
        <p:spPr>
          <a:xfrm>
            <a:off x="6170734" y="1729920"/>
            <a:ext cx="5552536" cy="369332"/>
          </a:xfrm>
          <a:prstGeom prst="rect">
            <a:avLst/>
          </a:prstGeom>
          <a:noFill/>
        </p:spPr>
        <p:txBody>
          <a:bodyPr wrap="square">
            <a:spAutoFit/>
          </a:bodyPr>
          <a:lstStyle/>
          <a:p>
            <a:pPr algn="l" rtl="0" fontAlgn="base"/>
            <a:r>
              <a:rPr lang="en-US" b="0" i="0" u="none" strike="noStrike" dirty="0">
                <a:effectLst/>
                <a:latin typeface="Calibri" panose="020F0502020204030204" pitchFamily="34" charset="0"/>
              </a:rPr>
              <a:t>Call Center Intelligence </a:t>
            </a:r>
            <a:endParaRPr lang="en-US" b="0" i="0" dirty="0">
              <a:effectLst/>
              <a:latin typeface="Arial" panose="020B0604020202020204" pitchFamily="34" charset="0"/>
            </a:endParaRPr>
          </a:p>
        </p:txBody>
      </p:sp>
      <p:sp>
        <p:nvSpPr>
          <p:cNvPr id="9" name="TextBox 8">
            <a:extLst>
              <a:ext uri="{FF2B5EF4-FFF2-40B4-BE49-F238E27FC236}">
                <a16:creationId xmlns:a16="http://schemas.microsoft.com/office/drawing/2014/main" id="{909666EB-6349-4C8B-A6CD-80021722ACA9}"/>
              </a:ext>
            </a:extLst>
          </p:cNvPr>
          <p:cNvSpPr txBox="1"/>
          <p:nvPr/>
        </p:nvSpPr>
        <p:spPr>
          <a:xfrm>
            <a:off x="5680540" y="2711425"/>
            <a:ext cx="5306400" cy="1200329"/>
          </a:xfrm>
          <a:prstGeom prst="rect">
            <a:avLst/>
          </a:prstGeom>
          <a:noFill/>
        </p:spPr>
        <p:txBody>
          <a:bodyPr wrap="square">
            <a:spAutoFit/>
          </a:bodyPr>
          <a:lstStyle/>
          <a:p>
            <a:pPr marL="457200" marR="0">
              <a:spcBef>
                <a:spcPts val="0"/>
              </a:spcBef>
              <a:spcAft>
                <a:spcPts val="0"/>
              </a:spcAft>
            </a:pPr>
            <a:r>
              <a:rPr lang="en-US" dirty="0">
                <a:effectLst/>
                <a:latin typeface="Calibri" panose="020F0502020204030204" pitchFamily="34" charset="0"/>
                <a:ea typeface="Calibri" panose="020F0502020204030204" pitchFamily="34" charset="0"/>
              </a:rPr>
              <a:t>Automating phone call through voice transcription, Text Analytics, and NLP in real-time and providing intelligent insights to Agent as well as customer. </a:t>
            </a:r>
          </a:p>
        </p:txBody>
      </p:sp>
    </p:spTree>
    <p:extLst>
      <p:ext uri="{BB962C8B-B14F-4D97-AF65-F5344CB8AC3E}">
        <p14:creationId xmlns:p14="http://schemas.microsoft.com/office/powerpoint/2010/main" val="2553828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Rectangle 79">
            <a:extLst>
              <a:ext uri="{FF2B5EF4-FFF2-40B4-BE49-F238E27FC236}">
                <a16:creationId xmlns:a16="http://schemas.microsoft.com/office/drawing/2014/main" id="{B05211C6-63BA-BB42-BBCF-8403394635B7}"/>
              </a:ext>
            </a:extLst>
          </p:cNvPr>
          <p:cNvSpPr/>
          <p:nvPr/>
        </p:nvSpPr>
        <p:spPr>
          <a:xfrm>
            <a:off x="0" y="0"/>
            <a:ext cx="12191998"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pic>
        <p:nvPicPr>
          <p:cNvPr id="86" name="Picture 85">
            <a:extLst>
              <a:ext uri="{FF2B5EF4-FFF2-40B4-BE49-F238E27FC236}">
                <a16:creationId xmlns:a16="http://schemas.microsoft.com/office/drawing/2014/main" id="{B745E3D3-9861-2246-AFAF-28463CAE7CAD}"/>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11113006" y="6373966"/>
            <a:ext cx="1078992" cy="483531"/>
          </a:xfrm>
          <a:prstGeom prst="rect">
            <a:avLst/>
          </a:prstGeom>
        </p:spPr>
      </p:pic>
      <p:sp>
        <p:nvSpPr>
          <p:cNvPr id="4" name="TextBox 3">
            <a:extLst>
              <a:ext uri="{FF2B5EF4-FFF2-40B4-BE49-F238E27FC236}">
                <a16:creationId xmlns:a16="http://schemas.microsoft.com/office/drawing/2014/main" id="{B5B5D02B-FA0A-4BE9-8F8E-0FB8F99D95F0}"/>
              </a:ext>
            </a:extLst>
          </p:cNvPr>
          <p:cNvSpPr txBox="1"/>
          <p:nvPr/>
        </p:nvSpPr>
        <p:spPr>
          <a:xfrm>
            <a:off x="345781" y="303117"/>
            <a:ext cx="6234143" cy="523220"/>
          </a:xfrm>
          <a:prstGeom prst="rect">
            <a:avLst/>
          </a:prstGeom>
          <a:noFill/>
        </p:spPr>
        <p:txBody>
          <a:bodyPr wrap="none" rtlCol="0">
            <a:spAutoFit/>
          </a:bodyPr>
          <a:lstStyle/>
          <a:p>
            <a:r>
              <a:rPr lang="en-US" sz="2800" b="0" i="0" dirty="0">
                <a:effectLst/>
                <a:latin typeface="Calibri" panose="020F0502020204030204" pitchFamily="34" charset="0"/>
              </a:rPr>
              <a:t>AI-Powered Insurance Claims Automation</a:t>
            </a:r>
            <a:endParaRPr lang="en-US" sz="2800" dirty="0"/>
          </a:p>
        </p:txBody>
      </p:sp>
      <p:grpSp>
        <p:nvGrpSpPr>
          <p:cNvPr id="6" name="Group 5">
            <a:extLst>
              <a:ext uri="{FF2B5EF4-FFF2-40B4-BE49-F238E27FC236}">
                <a16:creationId xmlns:a16="http://schemas.microsoft.com/office/drawing/2014/main" id="{8E9B1595-B4B9-40D4-B761-0D4991594257}"/>
              </a:ext>
            </a:extLst>
          </p:cNvPr>
          <p:cNvGrpSpPr/>
          <p:nvPr/>
        </p:nvGrpSpPr>
        <p:grpSpPr>
          <a:xfrm>
            <a:off x="3351254" y="1236403"/>
            <a:ext cx="3841115" cy="2044141"/>
            <a:chOff x="716900" y="952275"/>
            <a:chExt cx="3841115" cy="2044141"/>
          </a:xfrm>
        </p:grpSpPr>
        <p:pic>
          <p:nvPicPr>
            <p:cNvPr id="5" name="Picture 4" descr="Image of Andre, the Chief Information Officer.">
              <a:extLst>
                <a:ext uri="{FF2B5EF4-FFF2-40B4-BE49-F238E27FC236}">
                  <a16:creationId xmlns:a16="http://schemas.microsoft.com/office/drawing/2014/main" id="{3AAA4098-2FD0-46B1-9653-23DFCA7589BA}"/>
                </a:ext>
              </a:extLst>
            </p:cNvPr>
            <p:cNvPicPr/>
            <p:nvPr/>
          </p:nvPicPr>
          <p:blipFill>
            <a:blip r:embed="rId4"/>
            <a:stretch>
              <a:fillRect/>
            </a:stretch>
          </p:blipFill>
          <p:spPr>
            <a:xfrm>
              <a:off x="716900" y="1659741"/>
              <a:ext cx="3841115" cy="1336675"/>
            </a:xfrm>
            <a:prstGeom prst="rect">
              <a:avLst/>
            </a:prstGeom>
            <a:ln>
              <a:solidFill>
                <a:srgbClr val="0070C0"/>
              </a:solidFill>
            </a:ln>
          </p:spPr>
        </p:pic>
        <p:pic>
          <p:nvPicPr>
            <p:cNvPr id="3" name="Picture 2">
              <a:extLst>
                <a:ext uri="{FF2B5EF4-FFF2-40B4-BE49-F238E27FC236}">
                  <a16:creationId xmlns:a16="http://schemas.microsoft.com/office/drawing/2014/main" id="{2328CFB6-1D3F-493B-817E-D1115CFE710B}"/>
                </a:ext>
              </a:extLst>
            </p:cNvPr>
            <p:cNvPicPr>
              <a:picLocks noChangeAspect="1"/>
            </p:cNvPicPr>
            <p:nvPr/>
          </p:nvPicPr>
          <p:blipFill>
            <a:blip r:embed="rId5"/>
            <a:stretch>
              <a:fillRect/>
            </a:stretch>
          </p:blipFill>
          <p:spPr>
            <a:xfrm>
              <a:off x="716900" y="952275"/>
              <a:ext cx="2095792" cy="743054"/>
            </a:xfrm>
            <a:prstGeom prst="rect">
              <a:avLst/>
            </a:prstGeom>
          </p:spPr>
        </p:pic>
      </p:grpSp>
      <p:graphicFrame>
        <p:nvGraphicFramePr>
          <p:cNvPr id="88" name="TextBox 6">
            <a:extLst>
              <a:ext uri="{FF2B5EF4-FFF2-40B4-BE49-F238E27FC236}">
                <a16:creationId xmlns:a16="http://schemas.microsoft.com/office/drawing/2014/main" id="{F8C9143D-C92F-425E-9A73-51D89617E77D}"/>
              </a:ext>
            </a:extLst>
          </p:cNvPr>
          <p:cNvGraphicFramePr/>
          <p:nvPr>
            <p:extLst>
              <p:ext uri="{D42A27DB-BD31-4B8C-83A1-F6EECF244321}">
                <p14:modId xmlns:p14="http://schemas.microsoft.com/office/powerpoint/2010/main" val="2349992027"/>
              </p:ext>
            </p:extLst>
          </p:nvPr>
        </p:nvGraphicFramePr>
        <p:xfrm>
          <a:off x="385596" y="3577456"/>
          <a:ext cx="10030613" cy="258532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30068255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 name="Rectangle 174">
            <a:extLst>
              <a:ext uri="{FF2B5EF4-FFF2-40B4-BE49-F238E27FC236}">
                <a16:creationId xmlns:a16="http://schemas.microsoft.com/office/drawing/2014/main" id="{51049005-9633-4D22-826B-41036AF891A5}"/>
              </a:ext>
            </a:extLst>
          </p:cNvPr>
          <p:cNvSpPr/>
          <p:nvPr/>
        </p:nvSpPr>
        <p:spPr bwMode="auto">
          <a:xfrm>
            <a:off x="10282458" y="2612628"/>
            <a:ext cx="1336978" cy="33572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72" name="Rectangle 171">
            <a:extLst>
              <a:ext uri="{FF2B5EF4-FFF2-40B4-BE49-F238E27FC236}">
                <a16:creationId xmlns:a16="http://schemas.microsoft.com/office/drawing/2014/main" id="{7BD1D652-6FAB-4993-9C7D-02D774BF838F}"/>
              </a:ext>
            </a:extLst>
          </p:cNvPr>
          <p:cNvSpPr/>
          <p:nvPr/>
        </p:nvSpPr>
        <p:spPr bwMode="auto">
          <a:xfrm>
            <a:off x="10992028" y="4274746"/>
            <a:ext cx="627408" cy="62740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71" name="Rectangle 70">
            <a:extLst>
              <a:ext uri="{FF2B5EF4-FFF2-40B4-BE49-F238E27FC236}">
                <a16:creationId xmlns:a16="http://schemas.microsoft.com/office/drawing/2014/main" id="{5832C4CB-CF3C-4366-ACA3-D5ABF83853FD}"/>
              </a:ext>
            </a:extLst>
          </p:cNvPr>
          <p:cNvSpPr/>
          <p:nvPr/>
        </p:nvSpPr>
        <p:spPr bwMode="auto">
          <a:xfrm>
            <a:off x="10282458" y="4274746"/>
            <a:ext cx="627408" cy="62740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25" name="Rectangle 24">
            <a:extLst>
              <a:ext uri="{FF2B5EF4-FFF2-40B4-BE49-F238E27FC236}">
                <a16:creationId xmlns:a16="http://schemas.microsoft.com/office/drawing/2014/main" id="{381C7203-2E62-41FA-9034-C12E8D6C64F1}"/>
              </a:ext>
            </a:extLst>
          </p:cNvPr>
          <p:cNvSpPr/>
          <p:nvPr/>
        </p:nvSpPr>
        <p:spPr bwMode="auto">
          <a:xfrm>
            <a:off x="564841" y="1780887"/>
            <a:ext cx="1568521"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speech_2">
            <a:extLst>
              <a:ext uri="{FF2B5EF4-FFF2-40B4-BE49-F238E27FC236}">
                <a16:creationId xmlns:a16="http://schemas.microsoft.com/office/drawing/2014/main" id="{B0930224-CD0A-4FF8-9490-B092A006CAAB}"/>
              </a:ext>
            </a:extLst>
          </p:cNvPr>
          <p:cNvSpPr>
            <a:spLocks noChangeAspect="1" noEditPoints="1"/>
          </p:cNvSpPr>
          <p:nvPr/>
        </p:nvSpPr>
        <p:spPr bwMode="auto">
          <a:xfrm>
            <a:off x="1195731" y="2285785"/>
            <a:ext cx="302387" cy="295498"/>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17" name="people_11">
            <a:extLst>
              <a:ext uri="{FF2B5EF4-FFF2-40B4-BE49-F238E27FC236}">
                <a16:creationId xmlns:a16="http://schemas.microsoft.com/office/drawing/2014/main" id="{BCAEB8DA-CD81-4ADB-9B9F-205D46154955}"/>
              </a:ext>
            </a:extLst>
          </p:cNvPr>
          <p:cNvSpPr>
            <a:spLocks noChangeAspect="1" noEditPoints="1"/>
          </p:cNvSpPr>
          <p:nvPr/>
        </p:nvSpPr>
        <p:spPr bwMode="auto">
          <a:xfrm>
            <a:off x="1200671" y="3269898"/>
            <a:ext cx="297447" cy="285642"/>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9050"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18" name="camera">
            <a:extLst>
              <a:ext uri="{FF2B5EF4-FFF2-40B4-BE49-F238E27FC236}">
                <a16:creationId xmlns:a16="http://schemas.microsoft.com/office/drawing/2014/main" id="{88AC7E1B-5546-4580-9895-7F4D2A04019E}"/>
              </a:ext>
            </a:extLst>
          </p:cNvPr>
          <p:cNvSpPr>
            <a:spLocks noChangeAspect="1" noEditPoints="1"/>
          </p:cNvSpPr>
          <p:nvPr/>
        </p:nvSpPr>
        <p:spPr bwMode="auto">
          <a:xfrm>
            <a:off x="1200084" y="4412822"/>
            <a:ext cx="298033" cy="238935"/>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a:ea typeface="+mn-ea"/>
              <a:cs typeface="+mn-cs"/>
            </a:endParaRPr>
          </a:p>
        </p:txBody>
      </p:sp>
      <p:sp>
        <p:nvSpPr>
          <p:cNvPr id="19" name="TextBox 18">
            <a:extLst>
              <a:ext uri="{FF2B5EF4-FFF2-40B4-BE49-F238E27FC236}">
                <a16:creationId xmlns:a16="http://schemas.microsoft.com/office/drawing/2014/main" id="{0A989110-7756-4409-A23D-5CA0C1E50BB8}"/>
              </a:ext>
            </a:extLst>
          </p:cNvPr>
          <p:cNvSpPr txBox="1"/>
          <p:nvPr/>
        </p:nvSpPr>
        <p:spPr>
          <a:xfrm>
            <a:off x="1032962" y="2551088"/>
            <a:ext cx="632279" cy="438950"/>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Text</a:t>
            </a:r>
          </a:p>
        </p:txBody>
      </p:sp>
      <p:sp>
        <p:nvSpPr>
          <p:cNvPr id="20" name="TextBox 19">
            <a:extLst>
              <a:ext uri="{FF2B5EF4-FFF2-40B4-BE49-F238E27FC236}">
                <a16:creationId xmlns:a16="http://schemas.microsoft.com/office/drawing/2014/main" id="{5AFF019C-AA61-496A-94C8-F10C7375AC04}"/>
              </a:ext>
            </a:extLst>
          </p:cNvPr>
          <p:cNvSpPr txBox="1"/>
          <p:nvPr/>
        </p:nvSpPr>
        <p:spPr>
          <a:xfrm>
            <a:off x="942615" y="3505496"/>
            <a:ext cx="812973" cy="438950"/>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peech</a:t>
            </a:r>
          </a:p>
        </p:txBody>
      </p:sp>
      <p:sp>
        <p:nvSpPr>
          <p:cNvPr id="21" name="TextBox 20">
            <a:extLst>
              <a:ext uri="{FF2B5EF4-FFF2-40B4-BE49-F238E27FC236}">
                <a16:creationId xmlns:a16="http://schemas.microsoft.com/office/drawing/2014/main" id="{3D8B85D7-8182-42BE-97A6-F6E2A6114C44}"/>
              </a:ext>
            </a:extLst>
          </p:cNvPr>
          <p:cNvSpPr txBox="1"/>
          <p:nvPr/>
        </p:nvSpPr>
        <p:spPr>
          <a:xfrm>
            <a:off x="971682" y="4577218"/>
            <a:ext cx="754838" cy="438950"/>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Image</a:t>
            </a:r>
          </a:p>
        </p:txBody>
      </p:sp>
      <p:sp>
        <p:nvSpPr>
          <p:cNvPr id="23" name="TextBox 22">
            <a:extLst>
              <a:ext uri="{FF2B5EF4-FFF2-40B4-BE49-F238E27FC236}">
                <a16:creationId xmlns:a16="http://schemas.microsoft.com/office/drawing/2014/main" id="{EAC5BD6F-C433-48AF-9065-D1ECD7227895}"/>
              </a:ext>
            </a:extLst>
          </p:cNvPr>
          <p:cNvSpPr txBox="1"/>
          <p:nvPr/>
        </p:nvSpPr>
        <p:spPr>
          <a:xfrm>
            <a:off x="564841" y="1314796"/>
            <a:ext cx="1568521"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29"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User Input</a:t>
            </a:r>
          </a:p>
        </p:txBody>
      </p:sp>
      <p:sp>
        <p:nvSpPr>
          <p:cNvPr id="28" name="Rectangle 27">
            <a:extLst>
              <a:ext uri="{FF2B5EF4-FFF2-40B4-BE49-F238E27FC236}">
                <a16:creationId xmlns:a16="http://schemas.microsoft.com/office/drawing/2014/main" id="{E970597B-DBC5-4025-B62A-E9304DEB47EE}"/>
              </a:ext>
            </a:extLst>
          </p:cNvPr>
          <p:cNvSpPr/>
          <p:nvPr/>
        </p:nvSpPr>
        <p:spPr bwMode="auto">
          <a:xfrm>
            <a:off x="2451236" y="1780887"/>
            <a:ext cx="1568521"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26" name="Picture 2" descr="Image result for facebook messenger logo png">
            <a:extLst>
              <a:ext uri="{FF2B5EF4-FFF2-40B4-BE49-F238E27FC236}">
                <a16:creationId xmlns:a16="http://schemas.microsoft.com/office/drawing/2014/main" id="{4B7E83F6-3693-48FF-AAEC-DB8E599181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570" y="4074393"/>
            <a:ext cx="336249" cy="33925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logo skype">
            <a:extLst>
              <a:ext uri="{FF2B5EF4-FFF2-40B4-BE49-F238E27FC236}">
                <a16:creationId xmlns:a16="http://schemas.microsoft.com/office/drawing/2014/main" id="{E9C66D86-94BA-4709-BFB1-CB5A5A3468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25357" y="2566614"/>
            <a:ext cx="412673" cy="41304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cortana logo png">
            <a:extLst>
              <a:ext uri="{FF2B5EF4-FFF2-40B4-BE49-F238E27FC236}">
                <a16:creationId xmlns:a16="http://schemas.microsoft.com/office/drawing/2014/main" id="{ECCA9804-E5C4-4B37-96D1-B3635338F6D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19981" y="1975367"/>
            <a:ext cx="423427" cy="423427"/>
          </a:xfrm>
          <a:prstGeom prst="rect">
            <a:avLst/>
          </a:prstGeom>
          <a:noFill/>
          <a:extLst>
            <a:ext uri="{909E8E84-426E-40DD-AFC4-6F175D3DCCD1}">
              <a14:hiddenFill xmlns:a14="http://schemas.microsoft.com/office/drawing/2010/main">
                <a:solidFill>
                  <a:srgbClr val="FFFFFF"/>
                </a:solidFill>
              </a14:hiddenFill>
            </a:ext>
          </a:extLst>
        </p:spPr>
      </p:pic>
      <p:sp>
        <p:nvSpPr>
          <p:cNvPr id="29" name="Oval 28">
            <a:extLst>
              <a:ext uri="{FF2B5EF4-FFF2-40B4-BE49-F238E27FC236}">
                <a16:creationId xmlns:a16="http://schemas.microsoft.com/office/drawing/2014/main" id="{3B77E114-642B-41F8-BD98-DA9BB5BD69BD}"/>
              </a:ext>
            </a:extLst>
          </p:cNvPr>
          <p:cNvSpPr/>
          <p:nvPr/>
        </p:nvSpPr>
        <p:spPr bwMode="auto">
          <a:xfrm>
            <a:off x="2956959" y="5167316"/>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0C4C0541-6ECB-46ED-A675-72E7983D55B1}"/>
              </a:ext>
            </a:extLst>
          </p:cNvPr>
          <p:cNvSpPr/>
          <p:nvPr/>
        </p:nvSpPr>
        <p:spPr bwMode="auto">
          <a:xfrm>
            <a:off x="1070565" y="5167316"/>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people_4">
            <a:extLst>
              <a:ext uri="{FF2B5EF4-FFF2-40B4-BE49-F238E27FC236}">
                <a16:creationId xmlns:a16="http://schemas.microsoft.com/office/drawing/2014/main" id="{972D97FB-3D30-4BB1-8EA2-B29839108EB1}"/>
              </a:ext>
            </a:extLst>
          </p:cNvPr>
          <p:cNvSpPr>
            <a:spLocks noChangeAspect="1" noEditPoints="1"/>
          </p:cNvSpPr>
          <p:nvPr/>
        </p:nvSpPr>
        <p:spPr bwMode="auto">
          <a:xfrm>
            <a:off x="1233204" y="5316281"/>
            <a:ext cx="231794" cy="25914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39" name="TextBox 38">
            <a:extLst>
              <a:ext uri="{FF2B5EF4-FFF2-40B4-BE49-F238E27FC236}">
                <a16:creationId xmlns:a16="http://schemas.microsoft.com/office/drawing/2014/main" id="{9B91DB33-2C19-450B-8F26-AF590F7183C8}"/>
              </a:ext>
            </a:extLst>
          </p:cNvPr>
          <p:cNvSpPr txBox="1"/>
          <p:nvPr/>
        </p:nvSpPr>
        <p:spPr>
          <a:xfrm>
            <a:off x="2445055" y="1314796"/>
            <a:ext cx="1580880"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29"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hannels</a:t>
            </a:r>
          </a:p>
        </p:txBody>
      </p:sp>
      <p:sp>
        <p:nvSpPr>
          <p:cNvPr id="43" name="Rectangle 42">
            <a:extLst>
              <a:ext uri="{FF2B5EF4-FFF2-40B4-BE49-F238E27FC236}">
                <a16:creationId xmlns:a16="http://schemas.microsoft.com/office/drawing/2014/main" id="{A5A2FF3D-D4BC-4E36-A715-05F59567B694}"/>
              </a:ext>
            </a:extLst>
          </p:cNvPr>
          <p:cNvSpPr/>
          <p:nvPr/>
        </p:nvSpPr>
        <p:spPr bwMode="auto">
          <a:xfrm>
            <a:off x="10069764" y="1780887"/>
            <a:ext cx="1743923"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589F4CA9-9037-40E3-AD3E-4022F787BD88}"/>
              </a:ext>
            </a:extLst>
          </p:cNvPr>
          <p:cNvSpPr/>
          <p:nvPr/>
        </p:nvSpPr>
        <p:spPr bwMode="auto">
          <a:xfrm>
            <a:off x="10676709" y="5167316"/>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1" name="TextBox 50">
            <a:extLst>
              <a:ext uri="{FF2B5EF4-FFF2-40B4-BE49-F238E27FC236}">
                <a16:creationId xmlns:a16="http://schemas.microsoft.com/office/drawing/2014/main" id="{9338B613-D258-424B-93AF-C9B9654CA8A3}"/>
              </a:ext>
            </a:extLst>
          </p:cNvPr>
          <p:cNvSpPr txBox="1"/>
          <p:nvPr/>
        </p:nvSpPr>
        <p:spPr>
          <a:xfrm>
            <a:off x="9873107" y="1314796"/>
            <a:ext cx="2066047"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29"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nalytics</a:t>
            </a:r>
          </a:p>
        </p:txBody>
      </p:sp>
      <p:sp>
        <p:nvSpPr>
          <p:cNvPr id="55" name="Trackers_EADF">
            <a:extLst>
              <a:ext uri="{FF2B5EF4-FFF2-40B4-BE49-F238E27FC236}">
                <a16:creationId xmlns:a16="http://schemas.microsoft.com/office/drawing/2014/main" id="{B4CE4CF8-E8AC-4B66-AE3C-ABE51B8A44EA}"/>
              </a:ext>
            </a:extLst>
          </p:cNvPr>
          <p:cNvSpPr>
            <a:spLocks noChangeAspect="1" noEditPoints="1"/>
          </p:cNvSpPr>
          <p:nvPr/>
        </p:nvSpPr>
        <p:spPr bwMode="auto">
          <a:xfrm>
            <a:off x="10844878" y="5295361"/>
            <a:ext cx="220736" cy="300984"/>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72" name="TextBox 71">
            <a:extLst>
              <a:ext uri="{FF2B5EF4-FFF2-40B4-BE49-F238E27FC236}">
                <a16:creationId xmlns:a16="http://schemas.microsoft.com/office/drawing/2014/main" id="{49D08BC9-2964-452E-A8A6-5E28D046419C}"/>
              </a:ext>
            </a:extLst>
          </p:cNvPr>
          <p:cNvSpPr txBox="1"/>
          <p:nvPr/>
        </p:nvSpPr>
        <p:spPr>
          <a:xfrm>
            <a:off x="10614167" y="1896073"/>
            <a:ext cx="528992" cy="142347"/>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ower BI</a:t>
            </a:r>
          </a:p>
        </p:txBody>
      </p:sp>
      <p:sp>
        <p:nvSpPr>
          <p:cNvPr id="73" name="TextBox 72">
            <a:extLst>
              <a:ext uri="{FF2B5EF4-FFF2-40B4-BE49-F238E27FC236}">
                <a16:creationId xmlns:a16="http://schemas.microsoft.com/office/drawing/2014/main" id="{8D921DC8-642F-4B63-AA91-30742A5FCD2F}"/>
              </a:ext>
            </a:extLst>
          </p:cNvPr>
          <p:cNvSpPr txBox="1"/>
          <p:nvPr/>
        </p:nvSpPr>
        <p:spPr>
          <a:xfrm>
            <a:off x="10416683" y="4045437"/>
            <a:ext cx="992259" cy="142347"/>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usiness Process</a:t>
            </a:r>
          </a:p>
        </p:txBody>
      </p:sp>
      <p:sp>
        <p:nvSpPr>
          <p:cNvPr id="74" name="Rectangle 73">
            <a:extLst>
              <a:ext uri="{FF2B5EF4-FFF2-40B4-BE49-F238E27FC236}">
                <a16:creationId xmlns:a16="http://schemas.microsoft.com/office/drawing/2014/main" id="{BC7FE81A-FF54-4D9C-A634-191CECEFCE98}"/>
              </a:ext>
            </a:extLst>
          </p:cNvPr>
          <p:cNvSpPr/>
          <p:nvPr/>
        </p:nvSpPr>
        <p:spPr bwMode="auto">
          <a:xfrm>
            <a:off x="4356712" y="1780887"/>
            <a:ext cx="5382277"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8" name="TextBox 77">
            <a:extLst>
              <a:ext uri="{FF2B5EF4-FFF2-40B4-BE49-F238E27FC236}">
                <a16:creationId xmlns:a16="http://schemas.microsoft.com/office/drawing/2014/main" id="{E89A709B-791C-4694-B473-99F9C842D326}"/>
              </a:ext>
            </a:extLst>
          </p:cNvPr>
          <p:cNvSpPr txBox="1"/>
          <p:nvPr/>
        </p:nvSpPr>
        <p:spPr>
          <a:xfrm>
            <a:off x="4350533" y="1314796"/>
            <a:ext cx="5382277"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0"/>
              </a:spcAft>
              <a:buClrTx/>
              <a:buSzTx/>
              <a:buFontTx/>
              <a:buNone/>
              <a:tabLst/>
              <a:defRPr/>
            </a:pPr>
            <a:r>
              <a:rPr kumimoji="0" lang="en-US" sz="1729"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Bot + Cognitive Services</a:t>
            </a:r>
          </a:p>
        </p:txBody>
      </p:sp>
      <p:sp>
        <p:nvSpPr>
          <p:cNvPr id="79" name="Oval 78">
            <a:extLst>
              <a:ext uri="{FF2B5EF4-FFF2-40B4-BE49-F238E27FC236}">
                <a16:creationId xmlns:a16="http://schemas.microsoft.com/office/drawing/2014/main" id="{52B4D34B-0DAE-436F-B0B5-F1E649F4E84E}"/>
              </a:ext>
            </a:extLst>
          </p:cNvPr>
          <p:cNvSpPr/>
          <p:nvPr/>
        </p:nvSpPr>
        <p:spPr bwMode="auto">
          <a:xfrm>
            <a:off x="5909169" y="5216801"/>
            <a:ext cx="557073" cy="557073"/>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extBox 2"/>
          <p:cNvSpPr txBox="1"/>
          <p:nvPr/>
        </p:nvSpPr>
        <p:spPr>
          <a:xfrm>
            <a:off x="494140" y="544104"/>
            <a:ext cx="11703951" cy="658896"/>
          </a:xfrm>
          <a:prstGeom prst="rect">
            <a:avLst/>
          </a:prstGeom>
          <a:noFill/>
        </p:spPr>
        <p:txBody>
          <a:bodyPr wrap="square" lIns="179259" tIns="143407" rIns="179259" bIns="143407" rtlCol="0">
            <a:spAutoFit/>
          </a:bodyPr>
          <a:lstStyle/>
          <a:p>
            <a:r>
              <a:rPr lang="en-US" sz="2400" b="0" i="0" dirty="0">
                <a:effectLst/>
                <a:latin typeface="Calibri" panose="020F0502020204030204" pitchFamily="34" charset="0"/>
              </a:rPr>
              <a:t>AI-Powered Insurance Claims Automation - Architecture</a:t>
            </a:r>
            <a:endParaRPr lang="en-US" sz="2400" dirty="0"/>
          </a:p>
        </p:txBody>
      </p:sp>
      <p:pic>
        <p:nvPicPr>
          <p:cNvPr id="5" name="Picture 4"/>
          <p:cNvPicPr>
            <a:picLocks noChangeAspect="1"/>
          </p:cNvPicPr>
          <p:nvPr/>
        </p:nvPicPr>
        <p:blipFill>
          <a:blip r:embed="rId6"/>
          <a:stretch>
            <a:fillRect/>
          </a:stretch>
        </p:blipFill>
        <p:spPr>
          <a:xfrm>
            <a:off x="3010100" y="4572751"/>
            <a:ext cx="443187" cy="420460"/>
          </a:xfrm>
          <a:prstGeom prst="rect">
            <a:avLst/>
          </a:prstGeom>
        </p:spPr>
      </p:pic>
      <p:pic>
        <p:nvPicPr>
          <p:cNvPr id="10" name="Picture 9"/>
          <p:cNvPicPr>
            <a:picLocks noChangeAspect="1"/>
          </p:cNvPicPr>
          <p:nvPr/>
        </p:nvPicPr>
        <p:blipFill>
          <a:blip r:embed="rId7"/>
          <a:stretch>
            <a:fillRect/>
          </a:stretch>
        </p:blipFill>
        <p:spPr>
          <a:xfrm>
            <a:off x="2225217" y="3362507"/>
            <a:ext cx="141926" cy="237508"/>
          </a:xfrm>
          <a:prstGeom prst="rect">
            <a:avLst/>
          </a:prstGeom>
        </p:spPr>
      </p:pic>
      <p:pic>
        <p:nvPicPr>
          <p:cNvPr id="143" name="Picture 142"/>
          <p:cNvPicPr>
            <a:picLocks noChangeAspect="1"/>
          </p:cNvPicPr>
          <p:nvPr/>
        </p:nvPicPr>
        <p:blipFill>
          <a:blip r:embed="rId7"/>
          <a:stretch>
            <a:fillRect/>
          </a:stretch>
        </p:blipFill>
        <p:spPr>
          <a:xfrm>
            <a:off x="4103850" y="3375928"/>
            <a:ext cx="141926" cy="237508"/>
          </a:xfrm>
          <a:prstGeom prst="rect">
            <a:avLst/>
          </a:prstGeom>
        </p:spPr>
      </p:pic>
      <p:pic>
        <p:nvPicPr>
          <p:cNvPr id="144" name="Picture 143"/>
          <p:cNvPicPr>
            <a:picLocks noChangeAspect="1"/>
          </p:cNvPicPr>
          <p:nvPr/>
        </p:nvPicPr>
        <p:blipFill>
          <a:blip r:embed="rId7"/>
          <a:stretch>
            <a:fillRect/>
          </a:stretch>
        </p:blipFill>
        <p:spPr>
          <a:xfrm>
            <a:off x="9829789" y="3413125"/>
            <a:ext cx="141926" cy="237508"/>
          </a:xfrm>
          <a:prstGeom prst="rect">
            <a:avLst/>
          </a:prstGeom>
        </p:spPr>
      </p:pic>
      <p:pic>
        <p:nvPicPr>
          <p:cNvPr id="31" name="Picture 30"/>
          <p:cNvPicPr>
            <a:picLocks noChangeAspect="1"/>
          </p:cNvPicPr>
          <p:nvPr/>
        </p:nvPicPr>
        <p:blipFill rotWithShape="1">
          <a:blip r:embed="rId8"/>
          <a:srcRect t="38180"/>
          <a:stretch/>
        </p:blipFill>
        <p:spPr>
          <a:xfrm>
            <a:off x="3010600" y="3435243"/>
            <a:ext cx="442187" cy="480046"/>
          </a:xfrm>
          <a:prstGeom prst="rect">
            <a:avLst/>
          </a:prstGeom>
        </p:spPr>
      </p:pic>
      <p:sp>
        <p:nvSpPr>
          <p:cNvPr id="120" name="Robot_E99A">
            <a:extLst>
              <a:ext uri="{FF2B5EF4-FFF2-40B4-BE49-F238E27FC236}">
                <a16:creationId xmlns:a16="http://schemas.microsoft.com/office/drawing/2014/main" id="{F033F7E9-1013-4127-92CA-03CED842D971}"/>
              </a:ext>
            </a:extLst>
          </p:cNvPr>
          <p:cNvSpPr>
            <a:spLocks noChangeAspect="1" noEditPoints="1"/>
          </p:cNvSpPr>
          <p:nvPr/>
        </p:nvSpPr>
        <p:spPr bwMode="auto">
          <a:xfrm>
            <a:off x="6071433" y="5309266"/>
            <a:ext cx="232543" cy="300492"/>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a:ea typeface="+mn-ea"/>
              <a:cs typeface="+mn-cs"/>
            </a:endParaRPr>
          </a:p>
        </p:txBody>
      </p:sp>
      <p:pic>
        <p:nvPicPr>
          <p:cNvPr id="14" name="Graphic 13" descr="Network">
            <a:extLst>
              <a:ext uri="{FF2B5EF4-FFF2-40B4-BE49-F238E27FC236}">
                <a16:creationId xmlns:a16="http://schemas.microsoft.com/office/drawing/2014/main" id="{7DBC1FC8-99D8-4C11-B87D-58A438499CB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12018" y="5209943"/>
            <a:ext cx="427418" cy="427418"/>
          </a:xfrm>
          <a:prstGeom prst="rect">
            <a:avLst/>
          </a:prstGeom>
        </p:spPr>
      </p:pic>
      <p:pic>
        <p:nvPicPr>
          <p:cNvPr id="3074" name="Picture 2" descr="Image result for Microsoft teams transparent">
            <a:extLst>
              <a:ext uri="{FF2B5EF4-FFF2-40B4-BE49-F238E27FC236}">
                <a16:creationId xmlns:a16="http://schemas.microsoft.com/office/drawing/2014/main" id="{DA520E1B-09DA-4488-A73F-851551264A1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961090" y="2990826"/>
            <a:ext cx="541206" cy="54120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Azure Logic App – Evaluating IF condition with the help of JSON expression  by passing null – Kloud Blog">
            <a:extLst>
              <a:ext uri="{FF2B5EF4-FFF2-40B4-BE49-F238E27FC236}">
                <a16:creationId xmlns:a16="http://schemas.microsoft.com/office/drawing/2014/main" id="{A813E027-97A4-4615-A519-2B49EFE3628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404647" y="3208678"/>
            <a:ext cx="996610" cy="52322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Pricing - Form Recognizer API | Microsoft Azure">
            <a:extLst>
              <a:ext uri="{FF2B5EF4-FFF2-40B4-BE49-F238E27FC236}">
                <a16:creationId xmlns:a16="http://schemas.microsoft.com/office/drawing/2014/main" id="{5776950D-9C49-4770-BE35-294CE871FD9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90907" y="2175003"/>
            <a:ext cx="1214871" cy="637808"/>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8" descr="Azure Storage Tutorial - An Introduction to Azure Storage | Edureka">
            <a:extLst>
              <a:ext uri="{FF2B5EF4-FFF2-40B4-BE49-F238E27FC236}">
                <a16:creationId xmlns:a16="http://schemas.microsoft.com/office/drawing/2014/main" id="{86DF9BEC-A6CF-47D9-B4F0-1967019C02F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528012" y="3156326"/>
            <a:ext cx="641445" cy="641445"/>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C51F3864-76C1-415B-9FD0-53E3E8D4D71C}"/>
              </a:ext>
            </a:extLst>
          </p:cNvPr>
          <p:cNvSpPr txBox="1"/>
          <p:nvPr/>
        </p:nvSpPr>
        <p:spPr>
          <a:xfrm>
            <a:off x="4546893" y="3820760"/>
            <a:ext cx="705899" cy="276999"/>
          </a:xfrm>
          <a:prstGeom prst="rect">
            <a:avLst/>
          </a:prstGeom>
          <a:noFill/>
        </p:spPr>
        <p:txBody>
          <a:bodyPr wrap="none" rtlCol="0">
            <a:spAutoFit/>
          </a:bodyPr>
          <a:lstStyle/>
          <a:p>
            <a:r>
              <a:rPr lang="en-US" sz="1200" dirty="0"/>
              <a:t>Storage</a:t>
            </a:r>
          </a:p>
        </p:txBody>
      </p:sp>
      <p:sp>
        <p:nvSpPr>
          <p:cNvPr id="33" name="TextBox 32">
            <a:extLst>
              <a:ext uri="{FF2B5EF4-FFF2-40B4-BE49-F238E27FC236}">
                <a16:creationId xmlns:a16="http://schemas.microsoft.com/office/drawing/2014/main" id="{08DBBAE3-94B1-462B-B785-5F06EA45D56F}"/>
              </a:ext>
            </a:extLst>
          </p:cNvPr>
          <p:cNvSpPr txBox="1"/>
          <p:nvPr/>
        </p:nvSpPr>
        <p:spPr>
          <a:xfrm>
            <a:off x="5449449" y="3839611"/>
            <a:ext cx="845103" cy="276999"/>
          </a:xfrm>
          <a:prstGeom prst="rect">
            <a:avLst/>
          </a:prstGeom>
          <a:noFill/>
        </p:spPr>
        <p:txBody>
          <a:bodyPr wrap="none" rtlCol="0">
            <a:spAutoFit/>
          </a:bodyPr>
          <a:lstStyle/>
          <a:p>
            <a:r>
              <a:rPr lang="en-US" sz="1200" dirty="0"/>
              <a:t>Logic app</a:t>
            </a:r>
          </a:p>
        </p:txBody>
      </p:sp>
      <p:sp>
        <p:nvSpPr>
          <p:cNvPr id="34" name="TextBox 33">
            <a:extLst>
              <a:ext uri="{FF2B5EF4-FFF2-40B4-BE49-F238E27FC236}">
                <a16:creationId xmlns:a16="http://schemas.microsoft.com/office/drawing/2014/main" id="{F2A9F499-52AB-4A03-A122-F3F78E9A7FB2}"/>
              </a:ext>
            </a:extLst>
          </p:cNvPr>
          <p:cNvSpPr txBox="1"/>
          <p:nvPr/>
        </p:nvSpPr>
        <p:spPr>
          <a:xfrm>
            <a:off x="6768387" y="2804722"/>
            <a:ext cx="810763" cy="276999"/>
          </a:xfrm>
          <a:prstGeom prst="rect">
            <a:avLst/>
          </a:prstGeom>
          <a:noFill/>
        </p:spPr>
        <p:txBody>
          <a:bodyPr wrap="square" rtlCol="0">
            <a:spAutoFit/>
          </a:bodyPr>
          <a:lstStyle/>
          <a:p>
            <a:r>
              <a:rPr lang="en-US" sz="1200" dirty="0"/>
              <a:t>ID Model</a:t>
            </a:r>
          </a:p>
        </p:txBody>
      </p:sp>
      <p:pic>
        <p:nvPicPr>
          <p:cNvPr id="35" name="Picture 34">
            <a:extLst>
              <a:ext uri="{FF2B5EF4-FFF2-40B4-BE49-F238E27FC236}">
                <a16:creationId xmlns:a16="http://schemas.microsoft.com/office/drawing/2014/main" id="{B89FF8C1-A88E-445D-9395-D44BBFA88149}"/>
              </a:ext>
            </a:extLst>
          </p:cNvPr>
          <p:cNvPicPr>
            <a:picLocks noChangeAspect="1"/>
          </p:cNvPicPr>
          <p:nvPr/>
        </p:nvPicPr>
        <p:blipFill>
          <a:blip r:embed="rId7"/>
          <a:stretch>
            <a:fillRect/>
          </a:stretch>
        </p:blipFill>
        <p:spPr>
          <a:xfrm>
            <a:off x="5309936" y="3362507"/>
            <a:ext cx="141926" cy="237508"/>
          </a:xfrm>
          <a:prstGeom prst="rect">
            <a:avLst/>
          </a:prstGeom>
        </p:spPr>
      </p:pic>
      <p:pic>
        <p:nvPicPr>
          <p:cNvPr id="36" name="Picture 35">
            <a:extLst>
              <a:ext uri="{FF2B5EF4-FFF2-40B4-BE49-F238E27FC236}">
                <a16:creationId xmlns:a16="http://schemas.microsoft.com/office/drawing/2014/main" id="{FAB3B133-105A-4EBF-99EC-EB9B0E6DF6A8}"/>
              </a:ext>
            </a:extLst>
          </p:cNvPr>
          <p:cNvPicPr>
            <a:picLocks noChangeAspect="1"/>
          </p:cNvPicPr>
          <p:nvPr/>
        </p:nvPicPr>
        <p:blipFill>
          <a:blip r:embed="rId7"/>
          <a:stretch>
            <a:fillRect/>
          </a:stretch>
        </p:blipFill>
        <p:spPr>
          <a:xfrm>
            <a:off x="6519944" y="2424209"/>
            <a:ext cx="141926" cy="237508"/>
          </a:xfrm>
          <a:prstGeom prst="rect">
            <a:avLst/>
          </a:prstGeom>
        </p:spPr>
      </p:pic>
      <p:pic>
        <p:nvPicPr>
          <p:cNvPr id="40" name="Picture 4" descr="Pricing - Form Recognizer API | Microsoft Azure">
            <a:extLst>
              <a:ext uri="{FF2B5EF4-FFF2-40B4-BE49-F238E27FC236}">
                <a16:creationId xmlns:a16="http://schemas.microsoft.com/office/drawing/2014/main" id="{2B285957-B25E-4723-AC87-B7F5E75A2EB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625327" y="3159963"/>
            <a:ext cx="1214871" cy="637808"/>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a:extLst>
              <a:ext uri="{FF2B5EF4-FFF2-40B4-BE49-F238E27FC236}">
                <a16:creationId xmlns:a16="http://schemas.microsoft.com/office/drawing/2014/main" id="{F13BF063-6A3A-4719-BCDA-D8D76BDA5164}"/>
              </a:ext>
            </a:extLst>
          </p:cNvPr>
          <p:cNvSpPr txBox="1"/>
          <p:nvPr/>
        </p:nvSpPr>
        <p:spPr>
          <a:xfrm>
            <a:off x="6802807" y="3789682"/>
            <a:ext cx="810763" cy="461665"/>
          </a:xfrm>
          <a:prstGeom prst="rect">
            <a:avLst/>
          </a:prstGeom>
          <a:noFill/>
        </p:spPr>
        <p:txBody>
          <a:bodyPr wrap="square" rtlCol="0">
            <a:spAutoFit/>
          </a:bodyPr>
          <a:lstStyle/>
          <a:p>
            <a:r>
              <a:rPr lang="en-US" sz="1200" dirty="0"/>
              <a:t>Invoice Model</a:t>
            </a:r>
          </a:p>
        </p:txBody>
      </p:sp>
      <p:pic>
        <p:nvPicPr>
          <p:cNvPr id="42" name="Picture 4" descr="Pricing - Form Recognizer API | Microsoft Azure">
            <a:extLst>
              <a:ext uri="{FF2B5EF4-FFF2-40B4-BE49-F238E27FC236}">
                <a16:creationId xmlns:a16="http://schemas.microsoft.com/office/drawing/2014/main" id="{7559A071-13F2-4EC8-80E7-1600D2FFA1D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641216" y="4290252"/>
            <a:ext cx="1214871" cy="637808"/>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43">
            <a:extLst>
              <a:ext uri="{FF2B5EF4-FFF2-40B4-BE49-F238E27FC236}">
                <a16:creationId xmlns:a16="http://schemas.microsoft.com/office/drawing/2014/main" id="{3FE1FC55-E84D-4D5B-BF00-32C1142BD280}"/>
              </a:ext>
            </a:extLst>
          </p:cNvPr>
          <p:cNvSpPr txBox="1"/>
          <p:nvPr/>
        </p:nvSpPr>
        <p:spPr>
          <a:xfrm>
            <a:off x="6797018" y="4919971"/>
            <a:ext cx="832442" cy="461665"/>
          </a:xfrm>
          <a:prstGeom prst="rect">
            <a:avLst/>
          </a:prstGeom>
          <a:noFill/>
        </p:spPr>
        <p:txBody>
          <a:bodyPr wrap="square" rtlCol="0">
            <a:spAutoFit/>
          </a:bodyPr>
          <a:lstStyle/>
          <a:p>
            <a:r>
              <a:rPr lang="en-US" sz="1200" dirty="0"/>
              <a:t>Insurance Model</a:t>
            </a:r>
          </a:p>
        </p:txBody>
      </p:sp>
      <p:pic>
        <p:nvPicPr>
          <p:cNvPr id="45" name="Picture 44">
            <a:extLst>
              <a:ext uri="{FF2B5EF4-FFF2-40B4-BE49-F238E27FC236}">
                <a16:creationId xmlns:a16="http://schemas.microsoft.com/office/drawing/2014/main" id="{3D1A4768-999E-47E9-964A-7C0B0B39BEF2}"/>
              </a:ext>
            </a:extLst>
          </p:cNvPr>
          <p:cNvPicPr>
            <a:picLocks noChangeAspect="1"/>
          </p:cNvPicPr>
          <p:nvPr/>
        </p:nvPicPr>
        <p:blipFill>
          <a:blip r:embed="rId7"/>
          <a:stretch>
            <a:fillRect/>
          </a:stretch>
        </p:blipFill>
        <p:spPr>
          <a:xfrm>
            <a:off x="6514909" y="3374991"/>
            <a:ext cx="141926" cy="237508"/>
          </a:xfrm>
          <a:prstGeom prst="rect">
            <a:avLst/>
          </a:prstGeom>
        </p:spPr>
      </p:pic>
      <p:pic>
        <p:nvPicPr>
          <p:cNvPr id="47" name="Picture 46">
            <a:extLst>
              <a:ext uri="{FF2B5EF4-FFF2-40B4-BE49-F238E27FC236}">
                <a16:creationId xmlns:a16="http://schemas.microsoft.com/office/drawing/2014/main" id="{E4871783-1C21-4F6D-90C8-CB916A3DA847}"/>
              </a:ext>
            </a:extLst>
          </p:cNvPr>
          <p:cNvPicPr>
            <a:picLocks noChangeAspect="1"/>
          </p:cNvPicPr>
          <p:nvPr/>
        </p:nvPicPr>
        <p:blipFill>
          <a:blip r:embed="rId7"/>
          <a:stretch>
            <a:fillRect/>
          </a:stretch>
        </p:blipFill>
        <p:spPr>
          <a:xfrm>
            <a:off x="6585872" y="4561189"/>
            <a:ext cx="141926" cy="237508"/>
          </a:xfrm>
          <a:prstGeom prst="rect">
            <a:avLst/>
          </a:prstGeom>
        </p:spPr>
      </p:pic>
      <p:grpSp>
        <p:nvGrpSpPr>
          <p:cNvPr id="163" name="Group 162">
            <a:extLst>
              <a:ext uri="{FF2B5EF4-FFF2-40B4-BE49-F238E27FC236}">
                <a16:creationId xmlns:a16="http://schemas.microsoft.com/office/drawing/2014/main" id="{BF3DAFAF-D1D3-4A8F-B620-219022FC23DD}"/>
              </a:ext>
            </a:extLst>
          </p:cNvPr>
          <p:cNvGrpSpPr/>
          <p:nvPr/>
        </p:nvGrpSpPr>
        <p:grpSpPr>
          <a:xfrm>
            <a:off x="8319393" y="3116676"/>
            <a:ext cx="583514" cy="748384"/>
            <a:chOff x="9354862" y="4200274"/>
            <a:chExt cx="477631" cy="612586"/>
          </a:xfrm>
        </p:grpSpPr>
        <p:sp>
          <p:nvSpPr>
            <p:cNvPr id="164" name="Freeform: Shape 163">
              <a:extLst>
                <a:ext uri="{FF2B5EF4-FFF2-40B4-BE49-F238E27FC236}">
                  <a16:creationId xmlns:a16="http://schemas.microsoft.com/office/drawing/2014/main" id="{9A7AD945-7FED-4F75-9255-7314A32552AA}"/>
                </a:ext>
              </a:extLst>
            </p:cNvPr>
            <p:cNvSpPr/>
            <p:nvPr/>
          </p:nvSpPr>
          <p:spPr>
            <a:xfrm>
              <a:off x="9354862" y="4200274"/>
              <a:ext cx="477631" cy="356259"/>
            </a:xfrm>
            <a:custGeom>
              <a:avLst/>
              <a:gdLst>
                <a:gd name="connsiteX0" fmla="*/ 238815 w 477631"/>
                <a:gd name="connsiteY0" fmla="*/ 0 h 356259"/>
                <a:gd name="connsiteX1" fmla="*/ 476398 w 477631"/>
                <a:gd name="connsiteY1" fmla="*/ 87456 h 356259"/>
                <a:gd name="connsiteX2" fmla="*/ 477266 w 477631"/>
                <a:gd name="connsiteY2" fmla="*/ 94469 h 356259"/>
                <a:gd name="connsiteX3" fmla="*/ 477631 w 477631"/>
                <a:gd name="connsiteY3" fmla="*/ 94469 h 356259"/>
                <a:gd name="connsiteX4" fmla="*/ 477631 w 477631"/>
                <a:gd name="connsiteY4" fmla="*/ 97416 h 356259"/>
                <a:gd name="connsiteX5" fmla="*/ 477631 w 477631"/>
                <a:gd name="connsiteY5" fmla="*/ 333896 h 356259"/>
                <a:gd name="connsiteX6" fmla="*/ 472500 w 477631"/>
                <a:gd name="connsiteY6" fmla="*/ 338196 h 356259"/>
                <a:gd name="connsiteX7" fmla="*/ 409442 w 477631"/>
                <a:gd name="connsiteY7" fmla="*/ 356259 h 356259"/>
                <a:gd name="connsiteX8" fmla="*/ 327272 w 477631"/>
                <a:gd name="connsiteY8" fmla="*/ 318594 h 356259"/>
                <a:gd name="connsiteX9" fmla="*/ 323075 w 477631"/>
                <a:gd name="connsiteY9" fmla="*/ 309244 h 356259"/>
                <a:gd name="connsiteX10" fmla="*/ 318878 w 477631"/>
                <a:gd name="connsiteY10" fmla="*/ 318594 h 356259"/>
                <a:gd name="connsiteX11" fmla="*/ 236708 w 477631"/>
                <a:gd name="connsiteY11" fmla="*/ 356259 h 356259"/>
                <a:gd name="connsiteX12" fmla="*/ 154538 w 477631"/>
                <a:gd name="connsiteY12" fmla="*/ 318594 h 356259"/>
                <a:gd name="connsiteX13" fmla="*/ 152448 w 477631"/>
                <a:gd name="connsiteY13" fmla="*/ 313938 h 356259"/>
                <a:gd name="connsiteX14" fmla="*/ 150358 w 477631"/>
                <a:gd name="connsiteY14" fmla="*/ 318594 h 356259"/>
                <a:gd name="connsiteX15" fmla="*/ 68189 w 477631"/>
                <a:gd name="connsiteY15" fmla="*/ 356259 h 356259"/>
                <a:gd name="connsiteX16" fmla="*/ 5130 w 477631"/>
                <a:gd name="connsiteY16" fmla="*/ 338196 h 356259"/>
                <a:gd name="connsiteX17" fmla="*/ 0 w 477631"/>
                <a:gd name="connsiteY17" fmla="*/ 333897 h 356259"/>
                <a:gd name="connsiteX18" fmla="*/ 0 w 477631"/>
                <a:gd name="connsiteY18" fmla="*/ 97417 h 356259"/>
                <a:gd name="connsiteX19" fmla="*/ 0 w 477631"/>
                <a:gd name="connsiteY19" fmla="*/ 97416 h 356259"/>
                <a:gd name="connsiteX20" fmla="*/ 0 w 477631"/>
                <a:gd name="connsiteY20" fmla="*/ 97415 h 356259"/>
                <a:gd name="connsiteX21" fmla="*/ 1233 w 477631"/>
                <a:gd name="connsiteY21" fmla="*/ 87456 h 356259"/>
                <a:gd name="connsiteX22" fmla="*/ 238815 w 477631"/>
                <a:gd name="connsiteY22" fmla="*/ 0 h 356259"/>
                <a:gd name="connsiteX23" fmla="*/ 238816 w 477631"/>
                <a:gd name="connsiteY23" fmla="*/ 35143 h 356259"/>
                <a:gd name="connsiteX24" fmla="*/ 73975 w 477631"/>
                <a:gd name="connsiteY24" fmla="*/ 83523 h 356259"/>
                <a:gd name="connsiteX25" fmla="*/ 238816 w 477631"/>
                <a:gd name="connsiteY25" fmla="*/ 131904 h 356259"/>
                <a:gd name="connsiteX26" fmla="*/ 403656 w 477631"/>
                <a:gd name="connsiteY26" fmla="*/ 83523 h 356259"/>
                <a:gd name="connsiteX27" fmla="*/ 238816 w 477631"/>
                <a:gd name="connsiteY27" fmla="*/ 35143 h 35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77631" h="356259">
                  <a:moveTo>
                    <a:pt x="238815" y="0"/>
                  </a:moveTo>
                  <a:cubicBezTo>
                    <a:pt x="362466" y="0"/>
                    <a:pt x="464168" y="38333"/>
                    <a:pt x="476398" y="87456"/>
                  </a:cubicBezTo>
                  <a:lnTo>
                    <a:pt x="477266" y="94469"/>
                  </a:lnTo>
                  <a:lnTo>
                    <a:pt x="477631" y="94469"/>
                  </a:lnTo>
                  <a:lnTo>
                    <a:pt x="477631" y="97416"/>
                  </a:lnTo>
                  <a:cubicBezTo>
                    <a:pt x="477631" y="176243"/>
                    <a:pt x="477631" y="255070"/>
                    <a:pt x="477631" y="333896"/>
                  </a:cubicBezTo>
                  <a:lnTo>
                    <a:pt x="472500" y="338196"/>
                  </a:lnTo>
                  <a:cubicBezTo>
                    <a:pt x="456362" y="349356"/>
                    <a:pt x="434068" y="356259"/>
                    <a:pt x="409442" y="356259"/>
                  </a:cubicBezTo>
                  <a:cubicBezTo>
                    <a:pt x="372503" y="356259"/>
                    <a:pt x="340810" y="340728"/>
                    <a:pt x="327272" y="318594"/>
                  </a:cubicBezTo>
                  <a:lnTo>
                    <a:pt x="323075" y="309244"/>
                  </a:lnTo>
                  <a:lnTo>
                    <a:pt x="318878" y="318594"/>
                  </a:lnTo>
                  <a:cubicBezTo>
                    <a:pt x="305340" y="340728"/>
                    <a:pt x="273647" y="356259"/>
                    <a:pt x="236708" y="356259"/>
                  </a:cubicBezTo>
                  <a:cubicBezTo>
                    <a:pt x="199770" y="356259"/>
                    <a:pt x="168076" y="340728"/>
                    <a:pt x="154538" y="318594"/>
                  </a:cubicBezTo>
                  <a:lnTo>
                    <a:pt x="152448" y="313938"/>
                  </a:lnTo>
                  <a:lnTo>
                    <a:pt x="150358" y="318594"/>
                  </a:lnTo>
                  <a:cubicBezTo>
                    <a:pt x="136820" y="340728"/>
                    <a:pt x="105127" y="356259"/>
                    <a:pt x="68189" y="356259"/>
                  </a:cubicBezTo>
                  <a:cubicBezTo>
                    <a:pt x="43563" y="356259"/>
                    <a:pt x="21268" y="349356"/>
                    <a:pt x="5130" y="338196"/>
                  </a:cubicBezTo>
                  <a:lnTo>
                    <a:pt x="0" y="333897"/>
                  </a:lnTo>
                  <a:cubicBezTo>
                    <a:pt x="0" y="255070"/>
                    <a:pt x="0" y="176244"/>
                    <a:pt x="0" y="97417"/>
                  </a:cubicBezTo>
                  <a:cubicBezTo>
                    <a:pt x="0" y="97417"/>
                    <a:pt x="0" y="97416"/>
                    <a:pt x="0" y="97416"/>
                  </a:cubicBezTo>
                  <a:cubicBezTo>
                    <a:pt x="0" y="97416"/>
                    <a:pt x="0" y="97415"/>
                    <a:pt x="0" y="97415"/>
                  </a:cubicBezTo>
                  <a:lnTo>
                    <a:pt x="1233" y="87456"/>
                  </a:lnTo>
                  <a:cubicBezTo>
                    <a:pt x="13463" y="38333"/>
                    <a:pt x="115165" y="0"/>
                    <a:pt x="238815" y="0"/>
                  </a:cubicBezTo>
                  <a:close/>
                  <a:moveTo>
                    <a:pt x="238816" y="35143"/>
                  </a:moveTo>
                  <a:cubicBezTo>
                    <a:pt x="147777" y="35143"/>
                    <a:pt x="73975" y="56804"/>
                    <a:pt x="73975" y="83523"/>
                  </a:cubicBezTo>
                  <a:cubicBezTo>
                    <a:pt x="73975" y="110243"/>
                    <a:pt x="147777" y="131904"/>
                    <a:pt x="238816" y="131904"/>
                  </a:cubicBezTo>
                  <a:cubicBezTo>
                    <a:pt x="329854" y="131904"/>
                    <a:pt x="403656" y="110243"/>
                    <a:pt x="403656" y="83523"/>
                  </a:cubicBezTo>
                  <a:cubicBezTo>
                    <a:pt x="403656" y="56804"/>
                    <a:pt x="329854" y="35143"/>
                    <a:pt x="238816" y="3514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5" name="Freeform: Shape 164">
              <a:extLst>
                <a:ext uri="{FF2B5EF4-FFF2-40B4-BE49-F238E27FC236}">
                  <a16:creationId xmlns:a16="http://schemas.microsoft.com/office/drawing/2014/main" id="{1CBB7004-F6C9-4C3A-B2B7-DECC47192BC6}"/>
                </a:ext>
              </a:extLst>
            </p:cNvPr>
            <p:cNvSpPr/>
            <p:nvPr/>
          </p:nvSpPr>
          <p:spPr>
            <a:xfrm>
              <a:off x="9354862" y="4545719"/>
              <a:ext cx="477631" cy="267141"/>
            </a:xfrm>
            <a:custGeom>
              <a:avLst/>
              <a:gdLst>
                <a:gd name="connsiteX0" fmla="*/ 323075 w 477631"/>
                <a:gd name="connsiteY0" fmla="*/ 0 h 267141"/>
                <a:gd name="connsiteX1" fmla="*/ 327272 w 477631"/>
                <a:gd name="connsiteY1" fmla="*/ 9350 h 267141"/>
                <a:gd name="connsiteX2" fmla="*/ 409442 w 477631"/>
                <a:gd name="connsiteY2" fmla="*/ 47015 h 267141"/>
                <a:gd name="connsiteX3" fmla="*/ 472500 w 477631"/>
                <a:gd name="connsiteY3" fmla="*/ 28952 h 267141"/>
                <a:gd name="connsiteX4" fmla="*/ 477631 w 477631"/>
                <a:gd name="connsiteY4" fmla="*/ 24652 h 267141"/>
                <a:gd name="connsiteX5" fmla="*/ 477631 w 477631"/>
                <a:gd name="connsiteY5" fmla="*/ 169724 h 267141"/>
                <a:gd name="connsiteX6" fmla="*/ 477631 w 477631"/>
                <a:gd name="connsiteY6" fmla="*/ 169725 h 267141"/>
                <a:gd name="connsiteX7" fmla="*/ 477631 w 477631"/>
                <a:gd name="connsiteY7" fmla="*/ 169727 h 267141"/>
                <a:gd name="connsiteX8" fmla="*/ 477631 w 477631"/>
                <a:gd name="connsiteY8" fmla="*/ 172672 h 267141"/>
                <a:gd name="connsiteX9" fmla="*/ 477266 w 477631"/>
                <a:gd name="connsiteY9" fmla="*/ 172672 h 267141"/>
                <a:gd name="connsiteX10" fmla="*/ 476398 w 477631"/>
                <a:gd name="connsiteY10" fmla="*/ 179686 h 267141"/>
                <a:gd name="connsiteX11" fmla="*/ 238816 w 477631"/>
                <a:gd name="connsiteY11" fmla="*/ 267141 h 267141"/>
                <a:gd name="connsiteX12" fmla="*/ 1233 w 477631"/>
                <a:gd name="connsiteY12" fmla="*/ 179686 h 267141"/>
                <a:gd name="connsiteX13" fmla="*/ 365 w 477631"/>
                <a:gd name="connsiteY13" fmla="*/ 172672 h 267141"/>
                <a:gd name="connsiteX14" fmla="*/ 0 w 477631"/>
                <a:gd name="connsiteY14" fmla="*/ 172672 h 267141"/>
                <a:gd name="connsiteX15" fmla="*/ 0 w 477631"/>
                <a:gd name="connsiteY15" fmla="*/ 169725 h 267141"/>
                <a:gd name="connsiteX16" fmla="*/ 0 w 477631"/>
                <a:gd name="connsiteY16" fmla="*/ 24653 h 267141"/>
                <a:gd name="connsiteX17" fmla="*/ 5130 w 477631"/>
                <a:gd name="connsiteY17" fmla="*/ 28952 h 267141"/>
                <a:gd name="connsiteX18" fmla="*/ 68189 w 477631"/>
                <a:gd name="connsiteY18" fmla="*/ 47015 h 267141"/>
                <a:gd name="connsiteX19" fmla="*/ 150358 w 477631"/>
                <a:gd name="connsiteY19" fmla="*/ 9350 h 267141"/>
                <a:gd name="connsiteX20" fmla="*/ 152449 w 477631"/>
                <a:gd name="connsiteY20" fmla="*/ 4694 h 267141"/>
                <a:gd name="connsiteX21" fmla="*/ 154539 w 477631"/>
                <a:gd name="connsiteY21" fmla="*/ 9350 h 267141"/>
                <a:gd name="connsiteX22" fmla="*/ 236708 w 477631"/>
                <a:gd name="connsiteY22" fmla="*/ 47015 h 267141"/>
                <a:gd name="connsiteX23" fmla="*/ 318878 w 477631"/>
                <a:gd name="connsiteY23" fmla="*/ 9350 h 267141"/>
                <a:gd name="connsiteX24" fmla="*/ 323075 w 477631"/>
                <a:gd name="connsiteY24" fmla="*/ 0 h 267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7631" h="267141">
                  <a:moveTo>
                    <a:pt x="323075" y="0"/>
                  </a:moveTo>
                  <a:lnTo>
                    <a:pt x="327272" y="9350"/>
                  </a:lnTo>
                  <a:cubicBezTo>
                    <a:pt x="340810" y="31484"/>
                    <a:pt x="372504" y="47015"/>
                    <a:pt x="409442" y="47015"/>
                  </a:cubicBezTo>
                  <a:cubicBezTo>
                    <a:pt x="434068" y="47015"/>
                    <a:pt x="456362" y="40112"/>
                    <a:pt x="472500" y="28952"/>
                  </a:cubicBezTo>
                  <a:lnTo>
                    <a:pt x="477631" y="24652"/>
                  </a:lnTo>
                  <a:lnTo>
                    <a:pt x="477631" y="169724"/>
                  </a:lnTo>
                  <a:cubicBezTo>
                    <a:pt x="477631" y="169725"/>
                    <a:pt x="477631" y="169725"/>
                    <a:pt x="477631" y="169725"/>
                  </a:cubicBezTo>
                  <a:cubicBezTo>
                    <a:pt x="477631" y="169726"/>
                    <a:pt x="477631" y="169726"/>
                    <a:pt x="477631" y="169727"/>
                  </a:cubicBezTo>
                  <a:lnTo>
                    <a:pt x="477631" y="172672"/>
                  </a:lnTo>
                  <a:lnTo>
                    <a:pt x="477266" y="172672"/>
                  </a:lnTo>
                  <a:lnTo>
                    <a:pt x="476398" y="179686"/>
                  </a:lnTo>
                  <a:cubicBezTo>
                    <a:pt x="464168" y="228808"/>
                    <a:pt x="362466" y="267141"/>
                    <a:pt x="238816" y="267141"/>
                  </a:cubicBezTo>
                  <a:cubicBezTo>
                    <a:pt x="115165" y="267141"/>
                    <a:pt x="13463" y="228808"/>
                    <a:pt x="1233" y="179686"/>
                  </a:cubicBezTo>
                  <a:lnTo>
                    <a:pt x="365" y="172672"/>
                  </a:lnTo>
                  <a:lnTo>
                    <a:pt x="0" y="172672"/>
                  </a:lnTo>
                  <a:lnTo>
                    <a:pt x="0" y="169725"/>
                  </a:lnTo>
                  <a:lnTo>
                    <a:pt x="0" y="24653"/>
                  </a:lnTo>
                  <a:lnTo>
                    <a:pt x="5130" y="28952"/>
                  </a:lnTo>
                  <a:cubicBezTo>
                    <a:pt x="21268" y="40112"/>
                    <a:pt x="43563" y="47015"/>
                    <a:pt x="68189" y="47015"/>
                  </a:cubicBezTo>
                  <a:cubicBezTo>
                    <a:pt x="105127" y="47015"/>
                    <a:pt x="136821" y="31484"/>
                    <a:pt x="150358" y="9350"/>
                  </a:cubicBezTo>
                  <a:lnTo>
                    <a:pt x="152449" y="4694"/>
                  </a:lnTo>
                  <a:lnTo>
                    <a:pt x="154539" y="9350"/>
                  </a:lnTo>
                  <a:cubicBezTo>
                    <a:pt x="168076" y="31484"/>
                    <a:pt x="199770" y="47015"/>
                    <a:pt x="236708" y="47015"/>
                  </a:cubicBezTo>
                  <a:cubicBezTo>
                    <a:pt x="273647" y="47015"/>
                    <a:pt x="305340" y="31484"/>
                    <a:pt x="318878" y="9350"/>
                  </a:cubicBezTo>
                  <a:lnTo>
                    <a:pt x="323075"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66" name="TextBox 165">
            <a:extLst>
              <a:ext uri="{FF2B5EF4-FFF2-40B4-BE49-F238E27FC236}">
                <a16:creationId xmlns:a16="http://schemas.microsoft.com/office/drawing/2014/main" id="{3D1622EF-B147-46B3-9549-5CB4E3170A59}"/>
              </a:ext>
            </a:extLst>
          </p:cNvPr>
          <p:cNvSpPr txBox="1"/>
          <p:nvPr/>
        </p:nvSpPr>
        <p:spPr>
          <a:xfrm>
            <a:off x="7944345" y="3915289"/>
            <a:ext cx="1418883" cy="276999"/>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200" b="0" i="0" u="none" strike="noStrike" kern="0" cap="none" spc="0" normalizeH="0" baseline="0">
                <a:ln>
                  <a:noFill/>
                </a:ln>
                <a:solidFill>
                  <a:prstClr val="white"/>
                </a:solidFill>
                <a:effectLst/>
                <a:uLnTx/>
                <a:uFillTx/>
                <a:latin typeface="Segoe UI Semibold"/>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a:ea typeface="+mn-ea"/>
                <a:cs typeface="Segoe UI Semibold" panose="020B0702040204020203" pitchFamily="34" charset="0"/>
              </a:rPr>
              <a:t>Data store</a:t>
            </a:r>
          </a:p>
        </p:txBody>
      </p:sp>
      <p:pic>
        <p:nvPicPr>
          <p:cNvPr id="48" name="Picture 47">
            <a:extLst>
              <a:ext uri="{FF2B5EF4-FFF2-40B4-BE49-F238E27FC236}">
                <a16:creationId xmlns:a16="http://schemas.microsoft.com/office/drawing/2014/main" id="{C8BCEFEC-4668-4A4B-B56C-20A4495D9A52}"/>
              </a:ext>
            </a:extLst>
          </p:cNvPr>
          <p:cNvPicPr>
            <a:picLocks noChangeAspect="1"/>
          </p:cNvPicPr>
          <p:nvPr/>
        </p:nvPicPr>
        <p:blipFill>
          <a:blip r:embed="rId7"/>
          <a:stretch>
            <a:fillRect/>
          </a:stretch>
        </p:blipFill>
        <p:spPr>
          <a:xfrm>
            <a:off x="7879951" y="3366020"/>
            <a:ext cx="141926" cy="237508"/>
          </a:xfrm>
          <a:prstGeom prst="rect">
            <a:avLst/>
          </a:prstGeom>
        </p:spPr>
      </p:pic>
      <p:sp>
        <p:nvSpPr>
          <p:cNvPr id="169" name="Freeform 271">
            <a:extLst>
              <a:ext uri="{FF2B5EF4-FFF2-40B4-BE49-F238E27FC236}">
                <a16:creationId xmlns:a16="http://schemas.microsoft.com/office/drawing/2014/main" id="{184EE72F-449B-49C3-B544-AD681B0B459F}"/>
              </a:ext>
            </a:extLst>
          </p:cNvPr>
          <p:cNvSpPr/>
          <p:nvPr/>
        </p:nvSpPr>
        <p:spPr>
          <a:xfrm>
            <a:off x="10501692" y="2192133"/>
            <a:ext cx="714266" cy="539267"/>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chemeClr val="accent2"/>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70" name="Group 342">
            <a:extLst>
              <a:ext uri="{FF2B5EF4-FFF2-40B4-BE49-F238E27FC236}">
                <a16:creationId xmlns:a16="http://schemas.microsoft.com/office/drawing/2014/main" id="{61589B6D-B325-4751-B7B1-A7D3BCD63938}"/>
              </a:ext>
            </a:extLst>
          </p:cNvPr>
          <p:cNvGrpSpPr>
            <a:grpSpLocks noChangeAspect="1"/>
          </p:cNvGrpSpPr>
          <p:nvPr/>
        </p:nvGrpSpPr>
        <p:grpSpPr bwMode="auto">
          <a:xfrm>
            <a:off x="10501692" y="4271141"/>
            <a:ext cx="784015" cy="766810"/>
            <a:chOff x="2805" y="2777"/>
            <a:chExt cx="319" cy="312"/>
          </a:xfrm>
        </p:grpSpPr>
        <p:sp>
          <p:nvSpPr>
            <p:cNvPr id="171" name="Freeform 343">
              <a:extLst>
                <a:ext uri="{FF2B5EF4-FFF2-40B4-BE49-F238E27FC236}">
                  <a16:creationId xmlns:a16="http://schemas.microsoft.com/office/drawing/2014/main" id="{9502739B-ECF5-4F68-8094-09C2B36BA162}"/>
                </a:ext>
              </a:extLst>
            </p:cNvPr>
            <p:cNvSpPr>
              <a:spLocks noEditPoints="1"/>
            </p:cNvSpPr>
            <p:nvPr/>
          </p:nvSpPr>
          <p:spPr bwMode="auto">
            <a:xfrm>
              <a:off x="2805" y="2777"/>
              <a:ext cx="319" cy="312"/>
            </a:xfrm>
            <a:custGeom>
              <a:avLst/>
              <a:gdLst>
                <a:gd name="T0" fmla="*/ 715 w 1396"/>
                <a:gd name="T1" fmla="*/ 0 h 1365"/>
                <a:gd name="T2" fmla="*/ 125 w 1396"/>
                <a:gd name="T3" fmla="*/ 341 h 1365"/>
                <a:gd name="T4" fmla="*/ 125 w 1396"/>
                <a:gd name="T5" fmla="*/ 1024 h 1365"/>
                <a:gd name="T6" fmla="*/ 715 w 1396"/>
                <a:gd name="T7" fmla="*/ 1365 h 1365"/>
                <a:gd name="T8" fmla="*/ 1396 w 1396"/>
                <a:gd name="T9" fmla="*/ 682 h 1365"/>
                <a:gd name="T10" fmla="*/ 715 w 1396"/>
                <a:gd name="T11" fmla="*/ 0 h 1365"/>
                <a:gd name="T12" fmla="*/ 714 w 1396"/>
                <a:gd name="T13" fmla="*/ 1237 h 1365"/>
                <a:gd name="T14" fmla="*/ 159 w 1396"/>
                <a:gd name="T15" fmla="*/ 683 h 1365"/>
                <a:gd name="T16" fmla="*/ 714 w 1396"/>
                <a:gd name="T17" fmla="*/ 128 h 1365"/>
                <a:gd name="T18" fmla="*/ 1268 w 1396"/>
                <a:gd name="T19" fmla="*/ 683 h 1365"/>
                <a:gd name="T20" fmla="*/ 714 w 1396"/>
                <a:gd name="T21" fmla="*/ 1237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96" h="1365">
                  <a:moveTo>
                    <a:pt x="715" y="0"/>
                  </a:moveTo>
                  <a:cubicBezTo>
                    <a:pt x="464" y="0"/>
                    <a:pt x="250" y="124"/>
                    <a:pt x="125" y="341"/>
                  </a:cubicBezTo>
                  <a:cubicBezTo>
                    <a:pt x="0" y="559"/>
                    <a:pt x="0" y="806"/>
                    <a:pt x="125" y="1024"/>
                  </a:cubicBezTo>
                  <a:cubicBezTo>
                    <a:pt x="250" y="1241"/>
                    <a:pt x="464" y="1365"/>
                    <a:pt x="715" y="1365"/>
                  </a:cubicBezTo>
                  <a:cubicBezTo>
                    <a:pt x="1091" y="1365"/>
                    <a:pt x="1396" y="1059"/>
                    <a:pt x="1396" y="682"/>
                  </a:cubicBezTo>
                  <a:cubicBezTo>
                    <a:pt x="1396" y="305"/>
                    <a:pt x="1091" y="0"/>
                    <a:pt x="715" y="0"/>
                  </a:cubicBezTo>
                  <a:close/>
                  <a:moveTo>
                    <a:pt x="714" y="1237"/>
                  </a:moveTo>
                  <a:cubicBezTo>
                    <a:pt x="407" y="1237"/>
                    <a:pt x="159" y="989"/>
                    <a:pt x="159" y="683"/>
                  </a:cubicBezTo>
                  <a:cubicBezTo>
                    <a:pt x="159" y="376"/>
                    <a:pt x="407" y="128"/>
                    <a:pt x="714" y="128"/>
                  </a:cubicBezTo>
                  <a:cubicBezTo>
                    <a:pt x="1020" y="128"/>
                    <a:pt x="1268" y="376"/>
                    <a:pt x="1268" y="683"/>
                  </a:cubicBezTo>
                  <a:cubicBezTo>
                    <a:pt x="1268" y="989"/>
                    <a:pt x="1020" y="1237"/>
                    <a:pt x="714" y="123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3" name="Freeform 344">
              <a:extLst>
                <a:ext uri="{FF2B5EF4-FFF2-40B4-BE49-F238E27FC236}">
                  <a16:creationId xmlns:a16="http://schemas.microsoft.com/office/drawing/2014/main" id="{10B21AB7-531C-4721-B588-F9E67DE5A9B3}"/>
                </a:ext>
              </a:extLst>
            </p:cNvPr>
            <p:cNvSpPr>
              <a:spLocks noEditPoints="1"/>
            </p:cNvSpPr>
            <p:nvPr/>
          </p:nvSpPr>
          <p:spPr bwMode="auto">
            <a:xfrm>
              <a:off x="2871" y="2835"/>
              <a:ext cx="195" cy="195"/>
            </a:xfrm>
            <a:custGeom>
              <a:avLst/>
              <a:gdLst>
                <a:gd name="T0" fmla="*/ 853 w 853"/>
                <a:gd name="T1" fmla="*/ 471 h 854"/>
                <a:gd name="T2" fmla="*/ 852 w 853"/>
                <a:gd name="T3" fmla="*/ 382 h 854"/>
                <a:gd name="T4" fmla="*/ 789 w 853"/>
                <a:gd name="T5" fmla="*/ 383 h 854"/>
                <a:gd name="T6" fmla="*/ 715 w 853"/>
                <a:gd name="T7" fmla="*/ 205 h 854"/>
                <a:gd name="T8" fmla="*/ 759 w 853"/>
                <a:gd name="T9" fmla="*/ 160 h 854"/>
                <a:gd name="T10" fmla="*/ 691 w 853"/>
                <a:gd name="T11" fmla="*/ 95 h 854"/>
                <a:gd name="T12" fmla="*/ 648 w 853"/>
                <a:gd name="T13" fmla="*/ 139 h 854"/>
                <a:gd name="T14" fmla="*/ 465 w 853"/>
                <a:gd name="T15" fmla="*/ 65 h 854"/>
                <a:gd name="T16" fmla="*/ 464 w 853"/>
                <a:gd name="T17" fmla="*/ 0 h 854"/>
                <a:gd name="T18" fmla="*/ 373 w 853"/>
                <a:gd name="T19" fmla="*/ 1 h 854"/>
                <a:gd name="T20" fmla="*/ 374 w 853"/>
                <a:gd name="T21" fmla="*/ 67 h 854"/>
                <a:gd name="T22" fmla="*/ 198 w 853"/>
                <a:gd name="T23" fmla="*/ 143 h 854"/>
                <a:gd name="T24" fmla="*/ 155 w 853"/>
                <a:gd name="T25" fmla="*/ 102 h 854"/>
                <a:gd name="T26" fmla="*/ 89 w 853"/>
                <a:gd name="T27" fmla="*/ 169 h 854"/>
                <a:gd name="T28" fmla="*/ 133 w 853"/>
                <a:gd name="T29" fmla="*/ 211 h 854"/>
                <a:gd name="T30" fmla="*/ 63 w 853"/>
                <a:gd name="T31" fmla="*/ 382 h 854"/>
                <a:gd name="T32" fmla="*/ 0 w 853"/>
                <a:gd name="T33" fmla="*/ 383 h 854"/>
                <a:gd name="T34" fmla="*/ 1 w 853"/>
                <a:gd name="T35" fmla="*/ 472 h 854"/>
                <a:gd name="T36" fmla="*/ 63 w 853"/>
                <a:gd name="T37" fmla="*/ 471 h 854"/>
                <a:gd name="T38" fmla="*/ 137 w 853"/>
                <a:gd name="T39" fmla="*/ 654 h 854"/>
                <a:gd name="T40" fmla="*/ 96 w 853"/>
                <a:gd name="T41" fmla="*/ 696 h 854"/>
                <a:gd name="T42" fmla="*/ 164 w 853"/>
                <a:gd name="T43" fmla="*/ 761 h 854"/>
                <a:gd name="T44" fmla="*/ 204 w 853"/>
                <a:gd name="T45" fmla="*/ 720 h 854"/>
                <a:gd name="T46" fmla="*/ 388 w 853"/>
                <a:gd name="T47" fmla="*/ 793 h 854"/>
                <a:gd name="T48" fmla="*/ 389 w 853"/>
                <a:gd name="T49" fmla="*/ 854 h 854"/>
                <a:gd name="T50" fmla="*/ 480 w 853"/>
                <a:gd name="T51" fmla="*/ 853 h 854"/>
                <a:gd name="T52" fmla="*/ 479 w 853"/>
                <a:gd name="T53" fmla="*/ 791 h 854"/>
                <a:gd name="T54" fmla="*/ 657 w 853"/>
                <a:gd name="T55" fmla="*/ 713 h 854"/>
                <a:gd name="T56" fmla="*/ 700 w 853"/>
                <a:gd name="T57" fmla="*/ 754 h 854"/>
                <a:gd name="T58" fmla="*/ 766 w 853"/>
                <a:gd name="T59" fmla="*/ 688 h 854"/>
                <a:gd name="T60" fmla="*/ 722 w 853"/>
                <a:gd name="T61" fmla="*/ 645 h 854"/>
                <a:gd name="T62" fmla="*/ 789 w 853"/>
                <a:gd name="T63" fmla="*/ 472 h 854"/>
                <a:gd name="T64" fmla="*/ 853 w 853"/>
                <a:gd name="T65" fmla="*/ 471 h 854"/>
                <a:gd name="T66" fmla="*/ 425 w 853"/>
                <a:gd name="T67" fmla="*/ 683 h 854"/>
                <a:gd name="T68" fmla="*/ 169 w 853"/>
                <a:gd name="T69" fmla="*/ 427 h 854"/>
                <a:gd name="T70" fmla="*/ 425 w 853"/>
                <a:gd name="T71" fmla="*/ 171 h 854"/>
                <a:gd name="T72" fmla="*/ 681 w 853"/>
                <a:gd name="T73" fmla="*/ 427 h 854"/>
                <a:gd name="T74" fmla="*/ 425 w 853"/>
                <a:gd name="T75" fmla="*/ 683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3" h="854">
                  <a:moveTo>
                    <a:pt x="853" y="471"/>
                  </a:moveTo>
                  <a:cubicBezTo>
                    <a:pt x="852" y="382"/>
                    <a:pt x="852" y="382"/>
                    <a:pt x="852" y="382"/>
                  </a:cubicBezTo>
                  <a:cubicBezTo>
                    <a:pt x="789" y="383"/>
                    <a:pt x="789" y="383"/>
                    <a:pt x="789" y="383"/>
                  </a:cubicBezTo>
                  <a:cubicBezTo>
                    <a:pt x="781" y="316"/>
                    <a:pt x="754" y="255"/>
                    <a:pt x="715" y="205"/>
                  </a:cubicBezTo>
                  <a:cubicBezTo>
                    <a:pt x="759" y="160"/>
                    <a:pt x="759" y="160"/>
                    <a:pt x="759" y="160"/>
                  </a:cubicBezTo>
                  <a:cubicBezTo>
                    <a:pt x="691" y="95"/>
                    <a:pt x="691" y="95"/>
                    <a:pt x="691" y="95"/>
                  </a:cubicBezTo>
                  <a:cubicBezTo>
                    <a:pt x="648" y="139"/>
                    <a:pt x="648" y="139"/>
                    <a:pt x="648" y="139"/>
                  </a:cubicBezTo>
                  <a:cubicBezTo>
                    <a:pt x="596" y="99"/>
                    <a:pt x="533" y="73"/>
                    <a:pt x="465" y="65"/>
                  </a:cubicBezTo>
                  <a:cubicBezTo>
                    <a:pt x="464" y="0"/>
                    <a:pt x="464" y="0"/>
                    <a:pt x="464" y="0"/>
                  </a:cubicBezTo>
                  <a:cubicBezTo>
                    <a:pt x="373" y="1"/>
                    <a:pt x="373" y="1"/>
                    <a:pt x="373" y="1"/>
                  </a:cubicBezTo>
                  <a:cubicBezTo>
                    <a:pt x="374" y="67"/>
                    <a:pt x="374" y="67"/>
                    <a:pt x="374" y="67"/>
                  </a:cubicBezTo>
                  <a:cubicBezTo>
                    <a:pt x="308" y="76"/>
                    <a:pt x="248" y="104"/>
                    <a:pt x="198" y="143"/>
                  </a:cubicBezTo>
                  <a:cubicBezTo>
                    <a:pt x="155" y="102"/>
                    <a:pt x="155" y="102"/>
                    <a:pt x="155" y="102"/>
                  </a:cubicBezTo>
                  <a:cubicBezTo>
                    <a:pt x="89" y="169"/>
                    <a:pt x="89" y="169"/>
                    <a:pt x="89" y="169"/>
                  </a:cubicBezTo>
                  <a:cubicBezTo>
                    <a:pt x="133" y="211"/>
                    <a:pt x="133" y="211"/>
                    <a:pt x="133" y="211"/>
                  </a:cubicBezTo>
                  <a:cubicBezTo>
                    <a:pt x="96" y="260"/>
                    <a:pt x="71" y="319"/>
                    <a:pt x="63" y="382"/>
                  </a:cubicBezTo>
                  <a:cubicBezTo>
                    <a:pt x="0" y="383"/>
                    <a:pt x="0" y="383"/>
                    <a:pt x="0" y="383"/>
                  </a:cubicBezTo>
                  <a:cubicBezTo>
                    <a:pt x="1" y="472"/>
                    <a:pt x="1" y="472"/>
                    <a:pt x="1" y="472"/>
                  </a:cubicBezTo>
                  <a:cubicBezTo>
                    <a:pt x="63" y="471"/>
                    <a:pt x="63" y="471"/>
                    <a:pt x="63" y="471"/>
                  </a:cubicBezTo>
                  <a:cubicBezTo>
                    <a:pt x="70" y="540"/>
                    <a:pt x="97" y="602"/>
                    <a:pt x="137" y="654"/>
                  </a:cubicBezTo>
                  <a:cubicBezTo>
                    <a:pt x="96" y="696"/>
                    <a:pt x="96" y="696"/>
                    <a:pt x="96" y="696"/>
                  </a:cubicBezTo>
                  <a:cubicBezTo>
                    <a:pt x="164" y="761"/>
                    <a:pt x="164" y="761"/>
                    <a:pt x="164" y="761"/>
                  </a:cubicBezTo>
                  <a:cubicBezTo>
                    <a:pt x="204" y="720"/>
                    <a:pt x="204" y="720"/>
                    <a:pt x="204" y="720"/>
                  </a:cubicBezTo>
                  <a:cubicBezTo>
                    <a:pt x="256" y="760"/>
                    <a:pt x="320" y="786"/>
                    <a:pt x="388" y="793"/>
                  </a:cubicBezTo>
                  <a:cubicBezTo>
                    <a:pt x="389" y="854"/>
                    <a:pt x="389" y="854"/>
                    <a:pt x="389" y="854"/>
                  </a:cubicBezTo>
                  <a:cubicBezTo>
                    <a:pt x="480" y="853"/>
                    <a:pt x="480" y="853"/>
                    <a:pt x="480" y="853"/>
                  </a:cubicBezTo>
                  <a:cubicBezTo>
                    <a:pt x="479" y="791"/>
                    <a:pt x="479" y="791"/>
                    <a:pt x="479" y="791"/>
                  </a:cubicBezTo>
                  <a:cubicBezTo>
                    <a:pt x="546" y="782"/>
                    <a:pt x="607" y="754"/>
                    <a:pt x="657" y="713"/>
                  </a:cubicBezTo>
                  <a:cubicBezTo>
                    <a:pt x="700" y="754"/>
                    <a:pt x="700" y="754"/>
                    <a:pt x="700" y="754"/>
                  </a:cubicBezTo>
                  <a:cubicBezTo>
                    <a:pt x="766" y="688"/>
                    <a:pt x="766" y="688"/>
                    <a:pt x="766" y="688"/>
                  </a:cubicBezTo>
                  <a:cubicBezTo>
                    <a:pt x="722" y="645"/>
                    <a:pt x="722" y="645"/>
                    <a:pt x="722" y="645"/>
                  </a:cubicBezTo>
                  <a:cubicBezTo>
                    <a:pt x="758" y="595"/>
                    <a:pt x="782" y="536"/>
                    <a:pt x="789" y="472"/>
                  </a:cubicBezTo>
                  <a:lnTo>
                    <a:pt x="853" y="471"/>
                  </a:lnTo>
                  <a:close/>
                  <a:moveTo>
                    <a:pt x="425" y="683"/>
                  </a:moveTo>
                  <a:cubicBezTo>
                    <a:pt x="284" y="683"/>
                    <a:pt x="169" y="568"/>
                    <a:pt x="169" y="427"/>
                  </a:cubicBezTo>
                  <a:cubicBezTo>
                    <a:pt x="169" y="285"/>
                    <a:pt x="284" y="171"/>
                    <a:pt x="425" y="171"/>
                  </a:cubicBezTo>
                  <a:cubicBezTo>
                    <a:pt x="566" y="171"/>
                    <a:pt x="681" y="285"/>
                    <a:pt x="681" y="427"/>
                  </a:cubicBezTo>
                  <a:cubicBezTo>
                    <a:pt x="681" y="568"/>
                    <a:pt x="566" y="683"/>
                    <a:pt x="425" y="68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96" name="Group 195">
            <a:extLst>
              <a:ext uri="{FF2B5EF4-FFF2-40B4-BE49-F238E27FC236}">
                <a16:creationId xmlns:a16="http://schemas.microsoft.com/office/drawing/2014/main" id="{AD041494-D5D8-4988-9A88-44DA717C842C}"/>
              </a:ext>
            </a:extLst>
          </p:cNvPr>
          <p:cNvGrpSpPr/>
          <p:nvPr/>
        </p:nvGrpSpPr>
        <p:grpSpPr>
          <a:xfrm>
            <a:off x="3509956" y="3301511"/>
            <a:ext cx="245307" cy="283741"/>
            <a:chOff x="1248571" y="3304468"/>
            <a:chExt cx="605889" cy="770804"/>
          </a:xfrm>
        </p:grpSpPr>
        <p:sp>
          <p:nvSpPr>
            <p:cNvPr id="197" name="Rectangle 196">
              <a:extLst>
                <a:ext uri="{FF2B5EF4-FFF2-40B4-BE49-F238E27FC236}">
                  <a16:creationId xmlns:a16="http://schemas.microsoft.com/office/drawing/2014/main" id="{822DA6B6-AB29-48C6-8BCB-ED792A351F90}"/>
                </a:ext>
              </a:extLst>
            </p:cNvPr>
            <p:cNvSpPr/>
            <p:nvPr/>
          </p:nvSpPr>
          <p:spPr bwMode="auto">
            <a:xfrm>
              <a:off x="1248571" y="3304468"/>
              <a:ext cx="605889" cy="770804"/>
            </a:xfrm>
            <a:prstGeom prst="rect">
              <a:avLst/>
            </a:prstGeom>
            <a:solidFill>
              <a:schemeClr val="tx1"/>
            </a:solidFill>
            <a:ln w="381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8" name="Group 197">
              <a:extLst>
                <a:ext uri="{FF2B5EF4-FFF2-40B4-BE49-F238E27FC236}">
                  <a16:creationId xmlns:a16="http://schemas.microsoft.com/office/drawing/2014/main" id="{6AAD9521-F858-449B-8262-B59C1DBEA372}"/>
                </a:ext>
              </a:extLst>
            </p:cNvPr>
            <p:cNvGrpSpPr/>
            <p:nvPr/>
          </p:nvGrpSpPr>
          <p:grpSpPr>
            <a:xfrm>
              <a:off x="1332208" y="3396135"/>
              <a:ext cx="432617" cy="590662"/>
              <a:chOff x="6494463" y="1647826"/>
              <a:chExt cx="247650" cy="355600"/>
            </a:xfrm>
          </p:grpSpPr>
          <p:sp>
            <p:nvSpPr>
              <p:cNvPr id="199" name="Rectangle 139">
                <a:extLst>
                  <a:ext uri="{FF2B5EF4-FFF2-40B4-BE49-F238E27FC236}">
                    <a16:creationId xmlns:a16="http://schemas.microsoft.com/office/drawing/2014/main" id="{CB1E4FCD-CC3C-4B21-AF4C-959F23E0B958}"/>
                  </a:ext>
                </a:extLst>
              </p:cNvPr>
              <p:cNvSpPr>
                <a:spLocks noChangeArrowheads="1"/>
              </p:cNvSpPr>
              <p:nvPr/>
            </p:nvSpPr>
            <p:spPr bwMode="auto">
              <a:xfrm>
                <a:off x="6494463" y="1647826"/>
                <a:ext cx="247650"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0" name="Rectangle 140">
                <a:extLst>
                  <a:ext uri="{FF2B5EF4-FFF2-40B4-BE49-F238E27FC236}">
                    <a16:creationId xmlns:a16="http://schemas.microsoft.com/office/drawing/2014/main" id="{9765D0EA-59FA-4691-819B-17DF36A52C2D}"/>
                  </a:ext>
                </a:extLst>
              </p:cNvPr>
              <p:cNvSpPr>
                <a:spLocks noChangeArrowheads="1"/>
              </p:cNvSpPr>
              <p:nvPr/>
            </p:nvSpPr>
            <p:spPr bwMode="auto">
              <a:xfrm>
                <a:off x="6494463" y="1725613"/>
                <a:ext cx="24765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1" name="Rectangle 141">
                <a:extLst>
                  <a:ext uri="{FF2B5EF4-FFF2-40B4-BE49-F238E27FC236}">
                    <a16:creationId xmlns:a16="http://schemas.microsoft.com/office/drawing/2014/main" id="{60213AE5-3BF5-4743-9933-2E8A2CD87E28}"/>
                  </a:ext>
                </a:extLst>
              </p:cNvPr>
              <p:cNvSpPr>
                <a:spLocks noChangeArrowheads="1"/>
              </p:cNvSpPr>
              <p:nvPr/>
            </p:nvSpPr>
            <p:spPr bwMode="auto">
              <a:xfrm>
                <a:off x="6494463" y="1801813"/>
                <a:ext cx="247650" cy="476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2" name="Rectangle 142">
                <a:extLst>
                  <a:ext uri="{FF2B5EF4-FFF2-40B4-BE49-F238E27FC236}">
                    <a16:creationId xmlns:a16="http://schemas.microsoft.com/office/drawing/2014/main" id="{1B241CDA-492B-4406-B4DC-797AA0A7B855}"/>
                  </a:ext>
                </a:extLst>
              </p:cNvPr>
              <p:cNvSpPr>
                <a:spLocks noChangeArrowheads="1"/>
              </p:cNvSpPr>
              <p:nvPr/>
            </p:nvSpPr>
            <p:spPr bwMode="auto">
              <a:xfrm>
                <a:off x="6494463" y="1879601"/>
                <a:ext cx="24765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3" name="Rectangle 143">
                <a:extLst>
                  <a:ext uri="{FF2B5EF4-FFF2-40B4-BE49-F238E27FC236}">
                    <a16:creationId xmlns:a16="http://schemas.microsoft.com/office/drawing/2014/main" id="{6ADFF071-48E8-4C16-A921-6B408FCC3A26}"/>
                  </a:ext>
                </a:extLst>
              </p:cNvPr>
              <p:cNvSpPr>
                <a:spLocks noChangeArrowheads="1"/>
              </p:cNvSpPr>
              <p:nvPr/>
            </p:nvSpPr>
            <p:spPr bwMode="auto">
              <a:xfrm>
                <a:off x="6494463" y="1957388"/>
                <a:ext cx="13970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204" name="Group 203">
            <a:extLst>
              <a:ext uri="{FF2B5EF4-FFF2-40B4-BE49-F238E27FC236}">
                <a16:creationId xmlns:a16="http://schemas.microsoft.com/office/drawing/2014/main" id="{5FDC3876-C0D2-4B57-9637-C3418DF58C7C}"/>
              </a:ext>
            </a:extLst>
          </p:cNvPr>
          <p:cNvGrpSpPr/>
          <p:nvPr/>
        </p:nvGrpSpPr>
        <p:grpSpPr>
          <a:xfrm>
            <a:off x="3630273" y="3418909"/>
            <a:ext cx="245307" cy="283741"/>
            <a:chOff x="1248571" y="3304468"/>
            <a:chExt cx="605889" cy="770804"/>
          </a:xfrm>
        </p:grpSpPr>
        <p:sp>
          <p:nvSpPr>
            <p:cNvPr id="205" name="Rectangle 204">
              <a:extLst>
                <a:ext uri="{FF2B5EF4-FFF2-40B4-BE49-F238E27FC236}">
                  <a16:creationId xmlns:a16="http://schemas.microsoft.com/office/drawing/2014/main" id="{7A0E552D-0BF4-4F10-B74C-75F662A2824A}"/>
                </a:ext>
              </a:extLst>
            </p:cNvPr>
            <p:cNvSpPr/>
            <p:nvPr/>
          </p:nvSpPr>
          <p:spPr bwMode="auto">
            <a:xfrm>
              <a:off x="1248571" y="3304468"/>
              <a:ext cx="605889" cy="770804"/>
            </a:xfrm>
            <a:prstGeom prst="rect">
              <a:avLst/>
            </a:prstGeom>
            <a:solidFill>
              <a:schemeClr val="tx1"/>
            </a:solidFill>
            <a:ln w="381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CAC95D68-B038-4113-9737-C6E62756B503}"/>
                </a:ext>
              </a:extLst>
            </p:cNvPr>
            <p:cNvGrpSpPr/>
            <p:nvPr/>
          </p:nvGrpSpPr>
          <p:grpSpPr>
            <a:xfrm>
              <a:off x="1332208" y="3396135"/>
              <a:ext cx="432617" cy="590662"/>
              <a:chOff x="6494463" y="1647826"/>
              <a:chExt cx="247650" cy="355600"/>
            </a:xfrm>
          </p:grpSpPr>
          <p:sp>
            <p:nvSpPr>
              <p:cNvPr id="207" name="Rectangle 139">
                <a:extLst>
                  <a:ext uri="{FF2B5EF4-FFF2-40B4-BE49-F238E27FC236}">
                    <a16:creationId xmlns:a16="http://schemas.microsoft.com/office/drawing/2014/main" id="{CB4A9892-D725-47AF-81CE-1CCD189C3491}"/>
                  </a:ext>
                </a:extLst>
              </p:cNvPr>
              <p:cNvSpPr>
                <a:spLocks noChangeArrowheads="1"/>
              </p:cNvSpPr>
              <p:nvPr/>
            </p:nvSpPr>
            <p:spPr bwMode="auto">
              <a:xfrm>
                <a:off x="6494463" y="1647826"/>
                <a:ext cx="247650"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8" name="Rectangle 140">
                <a:extLst>
                  <a:ext uri="{FF2B5EF4-FFF2-40B4-BE49-F238E27FC236}">
                    <a16:creationId xmlns:a16="http://schemas.microsoft.com/office/drawing/2014/main" id="{E89B3FE5-9722-4C92-AA50-300B3735FCC4}"/>
                  </a:ext>
                </a:extLst>
              </p:cNvPr>
              <p:cNvSpPr>
                <a:spLocks noChangeArrowheads="1"/>
              </p:cNvSpPr>
              <p:nvPr/>
            </p:nvSpPr>
            <p:spPr bwMode="auto">
              <a:xfrm>
                <a:off x="6494463" y="1725613"/>
                <a:ext cx="24765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9" name="Rectangle 141">
                <a:extLst>
                  <a:ext uri="{FF2B5EF4-FFF2-40B4-BE49-F238E27FC236}">
                    <a16:creationId xmlns:a16="http://schemas.microsoft.com/office/drawing/2014/main" id="{F7C75AE0-684D-444F-BCCA-D0ACCE27705D}"/>
                  </a:ext>
                </a:extLst>
              </p:cNvPr>
              <p:cNvSpPr>
                <a:spLocks noChangeArrowheads="1"/>
              </p:cNvSpPr>
              <p:nvPr/>
            </p:nvSpPr>
            <p:spPr bwMode="auto">
              <a:xfrm>
                <a:off x="6494463" y="1801813"/>
                <a:ext cx="247650" cy="476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0" name="Rectangle 142">
                <a:extLst>
                  <a:ext uri="{FF2B5EF4-FFF2-40B4-BE49-F238E27FC236}">
                    <a16:creationId xmlns:a16="http://schemas.microsoft.com/office/drawing/2014/main" id="{CA752722-BEB9-40FE-93F1-6DB91C165F69}"/>
                  </a:ext>
                </a:extLst>
              </p:cNvPr>
              <p:cNvSpPr>
                <a:spLocks noChangeArrowheads="1"/>
              </p:cNvSpPr>
              <p:nvPr/>
            </p:nvSpPr>
            <p:spPr bwMode="auto">
              <a:xfrm>
                <a:off x="6494463" y="1879601"/>
                <a:ext cx="24765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1" name="Rectangle 143">
                <a:extLst>
                  <a:ext uri="{FF2B5EF4-FFF2-40B4-BE49-F238E27FC236}">
                    <a16:creationId xmlns:a16="http://schemas.microsoft.com/office/drawing/2014/main" id="{4541E1F4-99DA-4813-87FA-2570735FB0F4}"/>
                  </a:ext>
                </a:extLst>
              </p:cNvPr>
              <p:cNvSpPr>
                <a:spLocks noChangeArrowheads="1"/>
              </p:cNvSpPr>
              <p:nvPr/>
            </p:nvSpPr>
            <p:spPr bwMode="auto">
              <a:xfrm>
                <a:off x="6494463" y="1957388"/>
                <a:ext cx="13970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212" name="Group 211">
            <a:extLst>
              <a:ext uri="{FF2B5EF4-FFF2-40B4-BE49-F238E27FC236}">
                <a16:creationId xmlns:a16="http://schemas.microsoft.com/office/drawing/2014/main" id="{C15B4609-7577-460C-BD4B-4D499974B11C}"/>
              </a:ext>
            </a:extLst>
          </p:cNvPr>
          <p:cNvGrpSpPr/>
          <p:nvPr/>
        </p:nvGrpSpPr>
        <p:grpSpPr>
          <a:xfrm>
            <a:off x="3760356" y="3537954"/>
            <a:ext cx="245307" cy="283741"/>
            <a:chOff x="1345789" y="3393810"/>
            <a:chExt cx="803959" cy="1022784"/>
          </a:xfrm>
        </p:grpSpPr>
        <p:sp>
          <p:nvSpPr>
            <p:cNvPr id="213" name="Freeform: Shape 212">
              <a:extLst>
                <a:ext uri="{FF2B5EF4-FFF2-40B4-BE49-F238E27FC236}">
                  <a16:creationId xmlns:a16="http://schemas.microsoft.com/office/drawing/2014/main" id="{2627B110-BBF1-4025-95C0-3067E0110BCB}"/>
                </a:ext>
              </a:extLst>
            </p:cNvPr>
            <p:cNvSpPr/>
            <p:nvPr/>
          </p:nvSpPr>
          <p:spPr bwMode="auto">
            <a:xfrm>
              <a:off x="1345789" y="3393810"/>
              <a:ext cx="803959" cy="1022784"/>
            </a:xfrm>
            <a:custGeom>
              <a:avLst/>
              <a:gdLst>
                <a:gd name="connsiteX0" fmla="*/ 0 w 612476"/>
                <a:gd name="connsiteY0" fmla="*/ 0 h 779184"/>
                <a:gd name="connsiteX1" fmla="*/ 445383 w 612476"/>
                <a:gd name="connsiteY1" fmla="*/ 0 h 779184"/>
                <a:gd name="connsiteX2" fmla="*/ 612476 w 612476"/>
                <a:gd name="connsiteY2" fmla="*/ 155037 h 779184"/>
                <a:gd name="connsiteX3" fmla="*/ 612476 w 612476"/>
                <a:gd name="connsiteY3" fmla="*/ 779184 h 779184"/>
                <a:gd name="connsiteX4" fmla="*/ 0 w 612476"/>
                <a:gd name="connsiteY4" fmla="*/ 779184 h 779184"/>
                <a:gd name="connsiteX5" fmla="*/ 0 w 612476"/>
                <a:gd name="connsiteY5" fmla="*/ 0 h 779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2476" h="779184">
                  <a:moveTo>
                    <a:pt x="0" y="0"/>
                  </a:moveTo>
                  <a:lnTo>
                    <a:pt x="445383" y="0"/>
                  </a:lnTo>
                  <a:lnTo>
                    <a:pt x="612476" y="155037"/>
                  </a:lnTo>
                  <a:lnTo>
                    <a:pt x="612476" y="779184"/>
                  </a:lnTo>
                  <a:lnTo>
                    <a:pt x="0" y="779184"/>
                  </a:lnTo>
                  <a:lnTo>
                    <a:pt x="0" y="0"/>
                  </a:lnTo>
                  <a:close/>
                </a:path>
              </a:pathLst>
            </a:custGeom>
            <a:solidFill>
              <a:schemeClr val="tx1"/>
            </a:solidFill>
            <a:ln w="381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4" name="Rectangle 69">
              <a:extLst>
                <a:ext uri="{FF2B5EF4-FFF2-40B4-BE49-F238E27FC236}">
                  <a16:creationId xmlns:a16="http://schemas.microsoft.com/office/drawing/2014/main" id="{ADFB0C7D-6816-45FD-AAD5-FEFDA28BA87C}"/>
                </a:ext>
              </a:extLst>
            </p:cNvPr>
            <p:cNvSpPr/>
            <p:nvPr/>
          </p:nvSpPr>
          <p:spPr bwMode="auto">
            <a:xfrm>
              <a:off x="1924787" y="3410327"/>
              <a:ext cx="208830" cy="193761"/>
            </a:xfrm>
            <a:custGeom>
              <a:avLst/>
              <a:gdLst>
                <a:gd name="connsiteX0" fmla="*/ 0 w 167094"/>
                <a:gd name="connsiteY0" fmla="*/ 0 h 155038"/>
                <a:gd name="connsiteX1" fmla="*/ 167094 w 167094"/>
                <a:gd name="connsiteY1" fmla="*/ 0 h 155038"/>
                <a:gd name="connsiteX2" fmla="*/ 167094 w 167094"/>
                <a:gd name="connsiteY2" fmla="*/ 155038 h 155038"/>
                <a:gd name="connsiteX3" fmla="*/ 0 w 167094"/>
                <a:gd name="connsiteY3" fmla="*/ 155038 h 155038"/>
                <a:gd name="connsiteX4" fmla="*/ 0 w 167094"/>
                <a:gd name="connsiteY4" fmla="*/ 0 h 155038"/>
                <a:gd name="connsiteX0" fmla="*/ 0 w 167094"/>
                <a:gd name="connsiteY0" fmla="*/ 0 h 155038"/>
                <a:gd name="connsiteX1" fmla="*/ 167094 w 167094"/>
                <a:gd name="connsiteY1" fmla="*/ 155038 h 155038"/>
                <a:gd name="connsiteX2" fmla="*/ 0 w 167094"/>
                <a:gd name="connsiteY2" fmla="*/ 155038 h 155038"/>
                <a:gd name="connsiteX3" fmla="*/ 0 w 167094"/>
                <a:gd name="connsiteY3" fmla="*/ 0 h 155038"/>
              </a:gdLst>
              <a:ahLst/>
              <a:cxnLst>
                <a:cxn ang="0">
                  <a:pos x="connsiteX0" y="connsiteY0"/>
                </a:cxn>
                <a:cxn ang="0">
                  <a:pos x="connsiteX1" y="connsiteY1"/>
                </a:cxn>
                <a:cxn ang="0">
                  <a:pos x="connsiteX2" y="connsiteY2"/>
                </a:cxn>
                <a:cxn ang="0">
                  <a:pos x="connsiteX3" y="connsiteY3"/>
                </a:cxn>
              </a:cxnLst>
              <a:rect l="l" t="t" r="r" b="b"/>
              <a:pathLst>
                <a:path w="167094" h="155038">
                  <a:moveTo>
                    <a:pt x="0" y="0"/>
                  </a:moveTo>
                  <a:lnTo>
                    <a:pt x="167094" y="155038"/>
                  </a:lnTo>
                  <a:lnTo>
                    <a:pt x="0" y="155038"/>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21" name="Group 121">
            <a:extLst>
              <a:ext uri="{FF2B5EF4-FFF2-40B4-BE49-F238E27FC236}">
                <a16:creationId xmlns:a16="http://schemas.microsoft.com/office/drawing/2014/main" id="{F4786ADC-F686-45CD-9B1D-1C59BB0DB9C2}"/>
              </a:ext>
            </a:extLst>
          </p:cNvPr>
          <p:cNvGrpSpPr>
            <a:grpSpLocks noChangeAspect="1"/>
          </p:cNvGrpSpPr>
          <p:nvPr/>
        </p:nvGrpSpPr>
        <p:grpSpPr bwMode="auto">
          <a:xfrm rot="5400000">
            <a:off x="3920465" y="3519597"/>
            <a:ext cx="84506" cy="135209"/>
            <a:chOff x="6473" y="999"/>
            <a:chExt cx="195" cy="312"/>
          </a:xfrm>
        </p:grpSpPr>
        <p:sp>
          <p:nvSpPr>
            <p:cNvPr id="222" name="Rectangle 122">
              <a:extLst>
                <a:ext uri="{FF2B5EF4-FFF2-40B4-BE49-F238E27FC236}">
                  <a16:creationId xmlns:a16="http://schemas.microsoft.com/office/drawing/2014/main" id="{92BA1CBD-2D98-4DEA-A69F-30D7A9EC9999}"/>
                </a:ext>
              </a:extLst>
            </p:cNvPr>
            <p:cNvSpPr>
              <a:spLocks noChangeArrowheads="1"/>
            </p:cNvSpPr>
            <p:nvPr/>
          </p:nvSpPr>
          <p:spPr bwMode="auto">
            <a:xfrm>
              <a:off x="6629" y="1058"/>
              <a:ext cx="20" cy="11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3" name="Freeform 123">
              <a:extLst>
                <a:ext uri="{FF2B5EF4-FFF2-40B4-BE49-F238E27FC236}">
                  <a16:creationId xmlns:a16="http://schemas.microsoft.com/office/drawing/2014/main" id="{93C56966-82B6-4C91-BD2B-A574FF39C29F}"/>
                </a:ext>
              </a:extLst>
            </p:cNvPr>
            <p:cNvSpPr>
              <a:spLocks/>
            </p:cNvSpPr>
            <p:nvPr/>
          </p:nvSpPr>
          <p:spPr bwMode="auto">
            <a:xfrm>
              <a:off x="6610" y="999"/>
              <a:ext cx="58" cy="68"/>
            </a:xfrm>
            <a:custGeom>
              <a:avLst/>
              <a:gdLst>
                <a:gd name="T0" fmla="*/ 0 w 256"/>
                <a:gd name="T1" fmla="*/ 0 h 299"/>
                <a:gd name="T2" fmla="*/ 0 w 256"/>
                <a:gd name="T3" fmla="*/ 168 h 299"/>
                <a:gd name="T4" fmla="*/ 128 w 256"/>
                <a:gd name="T5" fmla="*/ 299 h 299"/>
                <a:gd name="T6" fmla="*/ 128 w 256"/>
                <a:gd name="T7" fmla="*/ 299 h 299"/>
                <a:gd name="T8" fmla="*/ 256 w 256"/>
                <a:gd name="T9" fmla="*/ 168 h 299"/>
                <a:gd name="T10" fmla="*/ 256 w 256"/>
                <a:gd name="T11" fmla="*/ 0 h 299"/>
                <a:gd name="T12" fmla="*/ 0 w 256"/>
                <a:gd name="T13" fmla="*/ 0 h 299"/>
              </a:gdLst>
              <a:ahLst/>
              <a:cxnLst>
                <a:cxn ang="0">
                  <a:pos x="T0" y="T1"/>
                </a:cxn>
                <a:cxn ang="0">
                  <a:pos x="T2" y="T3"/>
                </a:cxn>
                <a:cxn ang="0">
                  <a:pos x="T4" y="T5"/>
                </a:cxn>
                <a:cxn ang="0">
                  <a:pos x="T6" y="T7"/>
                </a:cxn>
                <a:cxn ang="0">
                  <a:pos x="T8" y="T9"/>
                </a:cxn>
                <a:cxn ang="0">
                  <a:pos x="T10" y="T11"/>
                </a:cxn>
                <a:cxn ang="0">
                  <a:pos x="T12" y="T13"/>
                </a:cxn>
              </a:cxnLst>
              <a:rect l="0" t="0" r="r" b="b"/>
              <a:pathLst>
                <a:path w="256" h="299">
                  <a:moveTo>
                    <a:pt x="0" y="0"/>
                  </a:moveTo>
                  <a:cubicBezTo>
                    <a:pt x="0" y="168"/>
                    <a:pt x="0" y="168"/>
                    <a:pt x="0" y="168"/>
                  </a:cubicBezTo>
                  <a:cubicBezTo>
                    <a:pt x="0" y="240"/>
                    <a:pt x="58" y="299"/>
                    <a:pt x="128" y="299"/>
                  </a:cubicBezTo>
                  <a:cubicBezTo>
                    <a:pt x="128" y="299"/>
                    <a:pt x="128" y="299"/>
                    <a:pt x="128" y="299"/>
                  </a:cubicBezTo>
                  <a:cubicBezTo>
                    <a:pt x="199" y="299"/>
                    <a:pt x="256" y="240"/>
                    <a:pt x="256" y="168"/>
                  </a:cubicBezTo>
                  <a:cubicBezTo>
                    <a:pt x="256" y="0"/>
                    <a:pt x="256" y="0"/>
                    <a:pt x="256"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4" name="Freeform 124">
              <a:extLst>
                <a:ext uri="{FF2B5EF4-FFF2-40B4-BE49-F238E27FC236}">
                  <a16:creationId xmlns:a16="http://schemas.microsoft.com/office/drawing/2014/main" id="{3223F9BC-35A6-4D7C-93B8-C289198E9081}"/>
                </a:ext>
              </a:extLst>
            </p:cNvPr>
            <p:cNvSpPr>
              <a:spLocks/>
            </p:cNvSpPr>
            <p:nvPr/>
          </p:nvSpPr>
          <p:spPr bwMode="auto">
            <a:xfrm>
              <a:off x="6610" y="1165"/>
              <a:ext cx="58" cy="146"/>
            </a:xfrm>
            <a:custGeom>
              <a:avLst/>
              <a:gdLst>
                <a:gd name="T0" fmla="*/ 0 w 256"/>
                <a:gd name="T1" fmla="*/ 0 h 640"/>
                <a:gd name="T2" fmla="*/ 0 w 256"/>
                <a:gd name="T3" fmla="*/ 508 h 640"/>
                <a:gd name="T4" fmla="*/ 128 w 256"/>
                <a:gd name="T5" fmla="*/ 640 h 640"/>
                <a:gd name="T6" fmla="*/ 128 w 256"/>
                <a:gd name="T7" fmla="*/ 640 h 640"/>
                <a:gd name="T8" fmla="*/ 256 w 256"/>
                <a:gd name="T9" fmla="*/ 508 h 640"/>
                <a:gd name="T10" fmla="*/ 256 w 256"/>
                <a:gd name="T11" fmla="*/ 0 h 640"/>
                <a:gd name="T12" fmla="*/ 0 w 256"/>
                <a:gd name="T13" fmla="*/ 0 h 640"/>
              </a:gdLst>
              <a:ahLst/>
              <a:cxnLst>
                <a:cxn ang="0">
                  <a:pos x="T0" y="T1"/>
                </a:cxn>
                <a:cxn ang="0">
                  <a:pos x="T2" y="T3"/>
                </a:cxn>
                <a:cxn ang="0">
                  <a:pos x="T4" y="T5"/>
                </a:cxn>
                <a:cxn ang="0">
                  <a:pos x="T6" y="T7"/>
                </a:cxn>
                <a:cxn ang="0">
                  <a:pos x="T8" y="T9"/>
                </a:cxn>
                <a:cxn ang="0">
                  <a:pos x="T10" y="T11"/>
                </a:cxn>
                <a:cxn ang="0">
                  <a:pos x="T12" y="T13"/>
                </a:cxn>
              </a:cxnLst>
              <a:rect l="0" t="0" r="r" b="b"/>
              <a:pathLst>
                <a:path w="256" h="640">
                  <a:moveTo>
                    <a:pt x="0" y="0"/>
                  </a:moveTo>
                  <a:cubicBezTo>
                    <a:pt x="0" y="508"/>
                    <a:pt x="0" y="508"/>
                    <a:pt x="0" y="508"/>
                  </a:cubicBezTo>
                  <a:cubicBezTo>
                    <a:pt x="0" y="581"/>
                    <a:pt x="58" y="640"/>
                    <a:pt x="128" y="640"/>
                  </a:cubicBezTo>
                  <a:cubicBezTo>
                    <a:pt x="128" y="640"/>
                    <a:pt x="128" y="640"/>
                    <a:pt x="128" y="640"/>
                  </a:cubicBezTo>
                  <a:cubicBezTo>
                    <a:pt x="199" y="640"/>
                    <a:pt x="256" y="581"/>
                    <a:pt x="256" y="508"/>
                  </a:cubicBezTo>
                  <a:cubicBezTo>
                    <a:pt x="256" y="0"/>
                    <a:pt x="256" y="0"/>
                    <a:pt x="256"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5" name="Rectangle 125">
              <a:extLst>
                <a:ext uri="{FF2B5EF4-FFF2-40B4-BE49-F238E27FC236}">
                  <a16:creationId xmlns:a16="http://schemas.microsoft.com/office/drawing/2014/main" id="{D83954E2-B4BE-4FB7-A59A-443A02BDAFB5}"/>
                </a:ext>
              </a:extLst>
            </p:cNvPr>
            <p:cNvSpPr>
              <a:spLocks noChangeArrowheads="1"/>
            </p:cNvSpPr>
            <p:nvPr/>
          </p:nvSpPr>
          <p:spPr bwMode="auto">
            <a:xfrm>
              <a:off x="6502" y="1062"/>
              <a:ext cx="39" cy="19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6" name="Freeform 126">
              <a:extLst>
                <a:ext uri="{FF2B5EF4-FFF2-40B4-BE49-F238E27FC236}">
                  <a16:creationId xmlns:a16="http://schemas.microsoft.com/office/drawing/2014/main" id="{0871C7A6-2292-4728-A56E-D29D1145557C}"/>
                </a:ext>
              </a:extLst>
            </p:cNvPr>
            <p:cNvSpPr>
              <a:spLocks noEditPoints="1"/>
            </p:cNvSpPr>
            <p:nvPr/>
          </p:nvSpPr>
          <p:spPr bwMode="auto">
            <a:xfrm>
              <a:off x="6477" y="1233"/>
              <a:ext cx="89" cy="78"/>
            </a:xfrm>
            <a:custGeom>
              <a:avLst/>
              <a:gdLst>
                <a:gd name="T0" fmla="*/ 194 w 389"/>
                <a:gd name="T1" fmla="*/ 128 h 341"/>
                <a:gd name="T2" fmla="*/ 230 w 389"/>
                <a:gd name="T3" fmla="*/ 147 h 341"/>
                <a:gd name="T4" fmla="*/ 236 w 389"/>
                <a:gd name="T5" fmla="*/ 179 h 341"/>
                <a:gd name="T6" fmla="*/ 218 w 389"/>
                <a:gd name="T7" fmla="*/ 206 h 341"/>
                <a:gd name="T8" fmla="*/ 194 w 389"/>
                <a:gd name="T9" fmla="*/ 213 h 341"/>
                <a:gd name="T10" fmla="*/ 159 w 389"/>
                <a:gd name="T11" fmla="*/ 194 h 341"/>
                <a:gd name="T12" fmla="*/ 171 w 389"/>
                <a:gd name="T13" fmla="*/ 135 h 341"/>
                <a:gd name="T14" fmla="*/ 194 w 389"/>
                <a:gd name="T15" fmla="*/ 128 h 341"/>
                <a:gd name="T16" fmla="*/ 194 w 389"/>
                <a:gd name="T17" fmla="*/ 0 h 341"/>
                <a:gd name="T18" fmla="*/ 100 w 389"/>
                <a:gd name="T19" fmla="*/ 28 h 341"/>
                <a:gd name="T20" fmla="*/ 52 w 389"/>
                <a:gd name="T21" fmla="*/ 265 h 341"/>
                <a:gd name="T22" fmla="*/ 194 w 389"/>
                <a:gd name="T23" fmla="*/ 341 h 341"/>
                <a:gd name="T24" fmla="*/ 289 w 389"/>
                <a:gd name="T25" fmla="*/ 312 h 341"/>
                <a:gd name="T26" fmla="*/ 336 w 389"/>
                <a:gd name="T27" fmla="*/ 76 h 341"/>
                <a:gd name="T28" fmla="*/ 194 w 389"/>
                <a:gd name="T29"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9" h="341">
                  <a:moveTo>
                    <a:pt x="194" y="128"/>
                  </a:moveTo>
                  <a:cubicBezTo>
                    <a:pt x="209" y="128"/>
                    <a:pt x="222" y="135"/>
                    <a:pt x="230" y="147"/>
                  </a:cubicBezTo>
                  <a:cubicBezTo>
                    <a:pt x="238" y="160"/>
                    <a:pt x="237" y="172"/>
                    <a:pt x="236" y="179"/>
                  </a:cubicBezTo>
                  <a:cubicBezTo>
                    <a:pt x="235" y="185"/>
                    <a:pt x="231" y="197"/>
                    <a:pt x="218" y="206"/>
                  </a:cubicBezTo>
                  <a:cubicBezTo>
                    <a:pt x="211" y="211"/>
                    <a:pt x="203" y="213"/>
                    <a:pt x="194" y="213"/>
                  </a:cubicBezTo>
                  <a:cubicBezTo>
                    <a:pt x="180" y="213"/>
                    <a:pt x="167" y="206"/>
                    <a:pt x="159" y="194"/>
                  </a:cubicBezTo>
                  <a:cubicBezTo>
                    <a:pt x="146" y="175"/>
                    <a:pt x="151" y="148"/>
                    <a:pt x="171" y="135"/>
                  </a:cubicBezTo>
                  <a:cubicBezTo>
                    <a:pt x="178" y="130"/>
                    <a:pt x="186" y="128"/>
                    <a:pt x="194" y="128"/>
                  </a:cubicBezTo>
                  <a:moveTo>
                    <a:pt x="194" y="0"/>
                  </a:moveTo>
                  <a:cubicBezTo>
                    <a:pt x="162" y="0"/>
                    <a:pt x="129" y="9"/>
                    <a:pt x="100" y="28"/>
                  </a:cubicBezTo>
                  <a:cubicBezTo>
                    <a:pt x="21" y="81"/>
                    <a:pt x="0" y="187"/>
                    <a:pt x="52" y="265"/>
                  </a:cubicBezTo>
                  <a:cubicBezTo>
                    <a:pt x="85" y="314"/>
                    <a:pt x="139" y="341"/>
                    <a:pt x="194" y="341"/>
                  </a:cubicBezTo>
                  <a:cubicBezTo>
                    <a:pt x="227" y="341"/>
                    <a:pt x="260" y="332"/>
                    <a:pt x="289" y="312"/>
                  </a:cubicBezTo>
                  <a:cubicBezTo>
                    <a:pt x="367" y="260"/>
                    <a:pt x="389" y="154"/>
                    <a:pt x="336" y="76"/>
                  </a:cubicBezTo>
                  <a:cubicBezTo>
                    <a:pt x="303" y="26"/>
                    <a:pt x="249" y="0"/>
                    <a:pt x="19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7" name="Freeform 127">
              <a:extLst>
                <a:ext uri="{FF2B5EF4-FFF2-40B4-BE49-F238E27FC236}">
                  <a16:creationId xmlns:a16="http://schemas.microsoft.com/office/drawing/2014/main" id="{EF35775B-4467-402C-9112-FEC432F618DE}"/>
                </a:ext>
              </a:extLst>
            </p:cNvPr>
            <p:cNvSpPr>
              <a:spLocks/>
            </p:cNvSpPr>
            <p:nvPr/>
          </p:nvSpPr>
          <p:spPr bwMode="auto">
            <a:xfrm>
              <a:off x="6473" y="999"/>
              <a:ext cx="98" cy="92"/>
            </a:xfrm>
            <a:custGeom>
              <a:avLst/>
              <a:gdLst>
                <a:gd name="T0" fmla="*/ 299 w 427"/>
                <a:gd name="T1" fmla="*/ 0 h 403"/>
                <a:gd name="T2" fmla="*/ 299 w 427"/>
                <a:gd name="T3" fmla="*/ 212 h 403"/>
                <a:gd name="T4" fmla="*/ 128 w 427"/>
                <a:gd name="T5" fmla="*/ 212 h 403"/>
                <a:gd name="T6" fmla="*/ 128 w 427"/>
                <a:gd name="T7" fmla="*/ 0 h 403"/>
                <a:gd name="T8" fmla="*/ 0 w 427"/>
                <a:gd name="T9" fmla="*/ 190 h 403"/>
                <a:gd name="T10" fmla="*/ 213 w 427"/>
                <a:gd name="T11" fmla="*/ 403 h 403"/>
                <a:gd name="T12" fmla="*/ 427 w 427"/>
                <a:gd name="T13" fmla="*/ 190 h 403"/>
                <a:gd name="T14" fmla="*/ 299 w 42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7" h="403">
                  <a:moveTo>
                    <a:pt x="299" y="0"/>
                  </a:moveTo>
                  <a:cubicBezTo>
                    <a:pt x="299" y="212"/>
                    <a:pt x="299" y="212"/>
                    <a:pt x="299" y="212"/>
                  </a:cubicBezTo>
                  <a:cubicBezTo>
                    <a:pt x="128" y="212"/>
                    <a:pt x="128" y="212"/>
                    <a:pt x="128" y="212"/>
                  </a:cubicBezTo>
                  <a:cubicBezTo>
                    <a:pt x="128" y="0"/>
                    <a:pt x="128" y="0"/>
                    <a:pt x="128" y="0"/>
                  </a:cubicBezTo>
                  <a:cubicBezTo>
                    <a:pt x="57" y="24"/>
                    <a:pt x="0" y="107"/>
                    <a:pt x="0" y="190"/>
                  </a:cubicBezTo>
                  <a:cubicBezTo>
                    <a:pt x="0" y="308"/>
                    <a:pt x="96" y="403"/>
                    <a:pt x="213" y="403"/>
                  </a:cubicBezTo>
                  <a:cubicBezTo>
                    <a:pt x="331" y="403"/>
                    <a:pt x="427" y="308"/>
                    <a:pt x="427" y="190"/>
                  </a:cubicBezTo>
                  <a:cubicBezTo>
                    <a:pt x="427" y="107"/>
                    <a:pt x="373" y="27"/>
                    <a:pt x="299"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pic>
        <p:nvPicPr>
          <p:cNvPr id="2050" name="Picture 2" descr="Icon&#10;&#10;Description automatically generated">
            <a:extLst>
              <a:ext uri="{FF2B5EF4-FFF2-40B4-BE49-F238E27FC236}">
                <a16:creationId xmlns:a16="http://schemas.microsoft.com/office/drawing/2014/main" id="{65CEE430-38AF-478A-9402-128DBE17B463}"/>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592071" y="4359909"/>
            <a:ext cx="563463" cy="650800"/>
          </a:xfrm>
          <a:prstGeom prst="rect">
            <a:avLst/>
          </a:prstGeom>
          <a:noFill/>
        </p:spPr>
      </p:pic>
      <p:sp>
        <p:nvSpPr>
          <p:cNvPr id="2" name="TextBox 1">
            <a:extLst>
              <a:ext uri="{FF2B5EF4-FFF2-40B4-BE49-F238E27FC236}">
                <a16:creationId xmlns:a16="http://schemas.microsoft.com/office/drawing/2014/main" id="{859B95C3-FFD5-4FFF-8AE9-6D05345AD888}"/>
              </a:ext>
            </a:extLst>
          </p:cNvPr>
          <p:cNvSpPr txBox="1"/>
          <p:nvPr/>
        </p:nvSpPr>
        <p:spPr>
          <a:xfrm>
            <a:off x="4622140" y="5022483"/>
            <a:ext cx="458780" cy="276999"/>
          </a:xfrm>
          <a:prstGeom prst="rect">
            <a:avLst/>
          </a:prstGeom>
          <a:noFill/>
        </p:spPr>
        <p:txBody>
          <a:bodyPr wrap="none" rtlCol="0">
            <a:spAutoFit/>
          </a:bodyPr>
          <a:lstStyle/>
          <a:p>
            <a:r>
              <a:rPr lang="en-US" sz="1200" dirty="0"/>
              <a:t>NLP</a:t>
            </a:r>
          </a:p>
        </p:txBody>
      </p:sp>
    </p:spTree>
    <p:extLst>
      <p:ext uri="{BB962C8B-B14F-4D97-AF65-F5344CB8AC3E}">
        <p14:creationId xmlns:p14="http://schemas.microsoft.com/office/powerpoint/2010/main" val="31363625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63"/>
                                        </p:tgtEl>
                                        <p:attrNameLst>
                                          <p:attrName>style.visibility</p:attrName>
                                        </p:attrNameLst>
                                      </p:cBhvr>
                                      <p:to>
                                        <p:strVal val="visible"/>
                                      </p:to>
                                    </p:set>
                                    <p:animEffect transition="in" filter="fade">
                                      <p:cBhvr>
                                        <p:cTn id="7" dur="500"/>
                                        <p:tgtEl>
                                          <p:spTgt spid="16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66"/>
                                        </p:tgtEl>
                                        <p:attrNameLst>
                                          <p:attrName>style.visibility</p:attrName>
                                        </p:attrNameLst>
                                      </p:cBhvr>
                                      <p:to>
                                        <p:strVal val="visible"/>
                                      </p:to>
                                    </p:set>
                                    <p:animEffect transition="in" filter="fade">
                                      <p:cBhvr>
                                        <p:cTn id="10" dur="500"/>
                                        <p:tgtEl>
                                          <p:spTgt spid="16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9"/>
                                        </p:tgtEl>
                                        <p:attrNameLst>
                                          <p:attrName>style.visibility</p:attrName>
                                        </p:attrNameLst>
                                      </p:cBhvr>
                                      <p:to>
                                        <p:strVal val="visible"/>
                                      </p:to>
                                    </p:set>
                                    <p:animEffect transition="in" filter="fade">
                                      <p:cBhvr>
                                        <p:cTn id="13" dur="500"/>
                                        <p:tgtEl>
                                          <p:spTgt spid="169"/>
                                        </p:tgtEl>
                                      </p:cBhvr>
                                    </p:animEffect>
                                  </p:childTnLst>
                                </p:cTn>
                              </p:par>
                              <p:par>
                                <p:cTn id="14" presetID="10" presetClass="entr" presetSubtype="0" fill="hold" nodeType="withEffect">
                                  <p:stCondLst>
                                    <p:cond delay="0"/>
                                  </p:stCondLst>
                                  <p:childTnLst>
                                    <p:set>
                                      <p:cBhvr>
                                        <p:cTn id="15" dur="1" fill="hold">
                                          <p:stCondLst>
                                            <p:cond delay="0"/>
                                          </p:stCondLst>
                                        </p:cTn>
                                        <p:tgtEl>
                                          <p:spTgt spid="170"/>
                                        </p:tgtEl>
                                        <p:attrNameLst>
                                          <p:attrName>style.visibility</p:attrName>
                                        </p:attrNameLst>
                                      </p:cBhvr>
                                      <p:to>
                                        <p:strVal val="visible"/>
                                      </p:to>
                                    </p:set>
                                    <p:animEffect transition="in" filter="fade">
                                      <p:cBhvr>
                                        <p:cTn id="16" dur="500"/>
                                        <p:tgtEl>
                                          <p:spTgt spid="1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 grpId="0"/>
      <p:bldP spid="16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6" name="Picture 85">
            <a:extLst>
              <a:ext uri="{FF2B5EF4-FFF2-40B4-BE49-F238E27FC236}">
                <a16:creationId xmlns:a16="http://schemas.microsoft.com/office/drawing/2014/main" id="{B745E3D3-9861-2246-AFAF-28463CAE7CAD}"/>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11113006" y="6373966"/>
            <a:ext cx="1078992" cy="483531"/>
          </a:xfrm>
          <a:prstGeom prst="rect">
            <a:avLst/>
          </a:prstGeom>
        </p:spPr>
      </p:pic>
      <p:sp>
        <p:nvSpPr>
          <p:cNvPr id="5" name="TextBox 4">
            <a:extLst>
              <a:ext uri="{FF2B5EF4-FFF2-40B4-BE49-F238E27FC236}">
                <a16:creationId xmlns:a16="http://schemas.microsoft.com/office/drawing/2014/main" id="{40963153-0B1A-442F-93E1-8801F57EA546}"/>
              </a:ext>
            </a:extLst>
          </p:cNvPr>
          <p:cNvSpPr txBox="1"/>
          <p:nvPr/>
        </p:nvSpPr>
        <p:spPr>
          <a:xfrm>
            <a:off x="4630137" y="297108"/>
            <a:ext cx="2545890"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Calibri" panose="020F0502020204030204"/>
                <a:ea typeface="+mn-ea"/>
                <a:cs typeface="+mn-cs"/>
              </a:rPr>
              <a:t>Demo &amp; GitHub</a:t>
            </a:r>
          </a:p>
        </p:txBody>
      </p:sp>
      <p:sp>
        <p:nvSpPr>
          <p:cNvPr id="7" name="TextBox 6">
            <a:extLst>
              <a:ext uri="{FF2B5EF4-FFF2-40B4-BE49-F238E27FC236}">
                <a16:creationId xmlns:a16="http://schemas.microsoft.com/office/drawing/2014/main" id="{76CEFA39-2A8D-4535-AC13-EB6BFE4FF900}"/>
              </a:ext>
            </a:extLst>
          </p:cNvPr>
          <p:cNvSpPr txBox="1"/>
          <p:nvPr/>
        </p:nvSpPr>
        <p:spPr>
          <a:xfrm>
            <a:off x="3892796" y="2962432"/>
            <a:ext cx="5552536" cy="369332"/>
          </a:xfrm>
          <a:prstGeom prst="rect">
            <a:avLst/>
          </a:prstGeom>
          <a:noFill/>
        </p:spPr>
        <p:txBody>
          <a:bodyPr wrap="square">
            <a:spAutoFit/>
          </a:bodyPr>
          <a:lstStyle/>
          <a:p>
            <a:r>
              <a:rPr lang="en-US" b="0" i="0" dirty="0">
                <a:effectLst/>
                <a:latin typeface="Calibri" panose="020F0502020204030204" pitchFamily="34" charset="0"/>
              </a:rPr>
              <a:t>https://www.github.com/akshata29/fsihack</a:t>
            </a:r>
            <a:endParaRPr lang="en-US" dirty="0"/>
          </a:p>
        </p:txBody>
      </p:sp>
    </p:spTree>
    <p:extLst>
      <p:ext uri="{BB962C8B-B14F-4D97-AF65-F5344CB8AC3E}">
        <p14:creationId xmlns:p14="http://schemas.microsoft.com/office/powerpoint/2010/main" val="528818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2">
            <a:extLst>
              <a:ext uri="{FF2B5EF4-FFF2-40B4-BE49-F238E27FC236}">
                <a16:creationId xmlns:a16="http://schemas.microsoft.com/office/drawing/2014/main" id="{CCFF47DF-8E9C-4A4D-B657-2E16E8D71E01}"/>
              </a:ext>
            </a:extLst>
          </p:cNvPr>
          <p:cNvSpPr>
            <a:spLocks noChangeArrowheads="1"/>
          </p:cNvSpPr>
          <p:nvPr/>
        </p:nvSpPr>
        <p:spPr bwMode="auto">
          <a:xfrm>
            <a:off x="1269227" y="1170945"/>
            <a:ext cx="9653547" cy="1171021"/>
          </a:xfrm>
          <a:prstGeom prst="rect">
            <a:avLst/>
          </a:prstGeom>
          <a:solidFill>
            <a:schemeClr val="bg1"/>
          </a:solidFill>
          <a:ln w="3175">
            <a:solidFill>
              <a:schemeClr val="accent1">
                <a:lumMod val="60000"/>
                <a:lumOff val="40000"/>
                <a:alpha val="6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lumMod val="60000"/>
                  <a:lumOff val="40000"/>
                </a:srgbClr>
              </a:solidFill>
              <a:effectLst/>
              <a:uLnTx/>
              <a:uFillTx/>
              <a:latin typeface="Segoe UI"/>
              <a:ea typeface="+mn-ea"/>
              <a:cs typeface="Segoe UI" pitchFamily="34" charset="0"/>
            </a:endParaRPr>
          </a:p>
        </p:txBody>
      </p:sp>
      <p:sp>
        <p:nvSpPr>
          <p:cNvPr id="23" name="Freeform 2">
            <a:extLst>
              <a:ext uri="{FF2B5EF4-FFF2-40B4-BE49-F238E27FC236}">
                <a16:creationId xmlns:a16="http://schemas.microsoft.com/office/drawing/2014/main" id="{D2A22C5B-16FE-479F-8C9E-24CA56DDF7DF}"/>
              </a:ext>
            </a:extLst>
          </p:cNvPr>
          <p:cNvSpPr>
            <a:spLocks noChangeArrowheads="1"/>
          </p:cNvSpPr>
          <p:nvPr/>
        </p:nvSpPr>
        <p:spPr bwMode="auto">
          <a:xfrm>
            <a:off x="1461235" y="1306576"/>
            <a:ext cx="9276132" cy="883166"/>
          </a:xfrm>
          <a:prstGeom prst="rect">
            <a:avLst/>
          </a:prstGeom>
          <a:solidFill>
            <a:schemeClr val="bg1"/>
          </a:solidFill>
          <a:ln w="3175" cap="flat">
            <a:solidFill>
              <a:schemeClr val="accent1">
                <a:lumMod val="60000"/>
                <a:lumOff val="40000"/>
                <a:alpha val="85000"/>
              </a:schemeClr>
            </a:solidFill>
            <a:miter lim="800000"/>
            <a:headEnd/>
            <a:tailEnd/>
          </a:ln>
          <a:effectLst/>
        </p:spPr>
        <p:txBody>
          <a:bodyPr wrap="none" lIns="182880" tIns="9144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lumMod val="40000"/>
                    <a:lumOff val="60000"/>
                  </a:srgbClr>
                </a:solidFill>
                <a:effectLst/>
                <a:uLnTx/>
                <a:uFillTx/>
                <a:latin typeface="Segoe UI Semibold"/>
                <a:ea typeface="+mn-ea"/>
                <a:cs typeface="+mn-cs"/>
              </a:rPr>
              <a:t>Power Platform</a:t>
            </a:r>
          </a:p>
        </p:txBody>
      </p:sp>
      <p:sp>
        <p:nvSpPr>
          <p:cNvPr id="24" name="Freeform 2">
            <a:extLst>
              <a:ext uri="{FF2B5EF4-FFF2-40B4-BE49-F238E27FC236}">
                <a16:creationId xmlns:a16="http://schemas.microsoft.com/office/drawing/2014/main" id="{7ECB912A-79EC-4984-8408-6121A907A026}"/>
              </a:ext>
            </a:extLst>
          </p:cNvPr>
          <p:cNvSpPr>
            <a:spLocks noChangeArrowheads="1"/>
          </p:cNvSpPr>
          <p:nvPr/>
        </p:nvSpPr>
        <p:spPr bwMode="auto">
          <a:xfrm>
            <a:off x="3498309" y="1543600"/>
            <a:ext cx="1567296" cy="222433"/>
          </a:xfrm>
          <a:prstGeom prst="rect">
            <a:avLst/>
          </a:prstGeom>
          <a:solidFill>
            <a:schemeClr val="bg1"/>
          </a:solidFill>
          <a:ln w="12700" cap="flat">
            <a:solidFill>
              <a:schemeClr val="accent1"/>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Arial" charset="0"/>
              </a:rPr>
              <a:t>Power BI</a:t>
            </a:r>
            <a:endParaRPr kumimoji="0" lang="en-US" sz="12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endParaRPr>
          </a:p>
        </p:txBody>
      </p:sp>
      <p:sp>
        <p:nvSpPr>
          <p:cNvPr id="25" name="Freeform 2">
            <a:extLst>
              <a:ext uri="{FF2B5EF4-FFF2-40B4-BE49-F238E27FC236}">
                <a16:creationId xmlns:a16="http://schemas.microsoft.com/office/drawing/2014/main" id="{ACBBA03B-91B3-46EC-9F9A-28FDCD3FA9F8}"/>
              </a:ext>
            </a:extLst>
          </p:cNvPr>
          <p:cNvSpPr>
            <a:spLocks noChangeArrowheads="1"/>
          </p:cNvSpPr>
          <p:nvPr/>
        </p:nvSpPr>
        <p:spPr bwMode="auto">
          <a:xfrm>
            <a:off x="5235653" y="1532487"/>
            <a:ext cx="1567297" cy="222433"/>
          </a:xfrm>
          <a:prstGeom prst="rect">
            <a:avLst/>
          </a:prstGeom>
          <a:solidFill>
            <a:schemeClr val="bg1"/>
          </a:solidFill>
          <a:ln w="12700" cap="flat">
            <a:solidFill>
              <a:schemeClr val="accent1"/>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Arial" charset="0"/>
              </a:rPr>
              <a:t>Power Apps</a:t>
            </a:r>
            <a:endParaRPr kumimoji="0" lang="en-US" sz="12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endParaRPr>
          </a:p>
        </p:txBody>
      </p:sp>
      <p:sp>
        <p:nvSpPr>
          <p:cNvPr id="26" name="Freeform 2">
            <a:extLst>
              <a:ext uri="{FF2B5EF4-FFF2-40B4-BE49-F238E27FC236}">
                <a16:creationId xmlns:a16="http://schemas.microsoft.com/office/drawing/2014/main" id="{40FC631F-E3FD-4C4F-8E2A-E0A9944E1B3E}"/>
              </a:ext>
            </a:extLst>
          </p:cNvPr>
          <p:cNvSpPr>
            <a:spLocks noChangeArrowheads="1"/>
          </p:cNvSpPr>
          <p:nvPr/>
        </p:nvSpPr>
        <p:spPr bwMode="auto">
          <a:xfrm>
            <a:off x="6949821" y="1532487"/>
            <a:ext cx="1576339" cy="222433"/>
          </a:xfrm>
          <a:prstGeom prst="rect">
            <a:avLst/>
          </a:prstGeom>
          <a:solidFill>
            <a:schemeClr val="bg1"/>
          </a:solidFill>
          <a:ln w="12700" cap="flat">
            <a:solidFill>
              <a:schemeClr val="accent1"/>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Arial" charset="0"/>
              </a:rPr>
              <a:t>Power Automate</a:t>
            </a:r>
            <a:endParaRPr kumimoji="0" lang="en-US" sz="12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endParaRPr>
          </a:p>
        </p:txBody>
      </p:sp>
      <p:sp>
        <p:nvSpPr>
          <p:cNvPr id="27" name="Rectangle 26">
            <a:extLst>
              <a:ext uri="{FF2B5EF4-FFF2-40B4-BE49-F238E27FC236}">
                <a16:creationId xmlns:a16="http://schemas.microsoft.com/office/drawing/2014/main" id="{A750DF6A-E242-44B8-BECB-BC0B6A7A3EFF}"/>
              </a:ext>
            </a:extLst>
          </p:cNvPr>
          <p:cNvSpPr/>
          <p:nvPr/>
        </p:nvSpPr>
        <p:spPr bwMode="auto">
          <a:xfrm>
            <a:off x="3488609" y="1856403"/>
            <a:ext cx="6809193" cy="24335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I Builder</a:t>
            </a:r>
          </a:p>
        </p:txBody>
      </p:sp>
      <p:sp>
        <p:nvSpPr>
          <p:cNvPr id="28" name="Freeform 2">
            <a:extLst>
              <a:ext uri="{FF2B5EF4-FFF2-40B4-BE49-F238E27FC236}">
                <a16:creationId xmlns:a16="http://schemas.microsoft.com/office/drawing/2014/main" id="{AA16F906-6C77-4ED6-AD6A-9476AB1CC9BA}"/>
              </a:ext>
            </a:extLst>
          </p:cNvPr>
          <p:cNvSpPr>
            <a:spLocks noChangeArrowheads="1"/>
          </p:cNvSpPr>
          <p:nvPr/>
        </p:nvSpPr>
        <p:spPr bwMode="auto">
          <a:xfrm>
            <a:off x="8673031" y="1532487"/>
            <a:ext cx="1576339" cy="222433"/>
          </a:xfrm>
          <a:prstGeom prst="rect">
            <a:avLst/>
          </a:prstGeom>
          <a:solidFill>
            <a:schemeClr val="bg1"/>
          </a:solidFill>
          <a:ln w="12700" cap="flat">
            <a:solidFill>
              <a:schemeClr val="accent1"/>
            </a:solid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Arial" charset="0"/>
              </a:rPr>
              <a:t>Power Virtual Agents</a:t>
            </a:r>
            <a:endParaRPr kumimoji="0" lang="en-US" sz="12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endParaRPr>
          </a:p>
        </p:txBody>
      </p:sp>
      <p:sp>
        <p:nvSpPr>
          <p:cNvPr id="3" name="Title 2">
            <a:extLst>
              <a:ext uri="{FF2B5EF4-FFF2-40B4-BE49-F238E27FC236}">
                <a16:creationId xmlns:a16="http://schemas.microsoft.com/office/drawing/2014/main" id="{1D006154-4293-4869-B84F-DCE0CD70BB54}"/>
              </a:ext>
            </a:extLst>
          </p:cNvPr>
          <p:cNvSpPr>
            <a:spLocks noGrp="1"/>
          </p:cNvSpPr>
          <p:nvPr>
            <p:ph type="title"/>
          </p:nvPr>
        </p:nvSpPr>
        <p:spPr/>
        <p:txBody>
          <a:bodyPr/>
          <a:lstStyle/>
          <a:p>
            <a:r>
              <a:rPr lang="en-US"/>
              <a:t>Azure AI</a:t>
            </a:r>
          </a:p>
        </p:txBody>
      </p:sp>
      <p:sp>
        <p:nvSpPr>
          <p:cNvPr id="316" name="Freeform 2">
            <a:extLst>
              <a:ext uri="{FF2B5EF4-FFF2-40B4-BE49-F238E27FC236}">
                <a16:creationId xmlns:a16="http://schemas.microsoft.com/office/drawing/2014/main" id="{6212ADE6-4D94-45F2-A180-EEF053189F9B}"/>
              </a:ext>
            </a:extLst>
          </p:cNvPr>
          <p:cNvSpPr>
            <a:spLocks noChangeArrowheads="1"/>
          </p:cNvSpPr>
          <p:nvPr/>
        </p:nvSpPr>
        <p:spPr bwMode="auto">
          <a:xfrm>
            <a:off x="1269227" y="1147969"/>
            <a:ext cx="9653547" cy="5368333"/>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lumMod val="60000"/>
                    <a:lumOff val="40000"/>
                  </a:srgbClr>
                </a:solidFill>
                <a:effectLst/>
                <a:uLnTx/>
                <a:uFillTx/>
                <a:latin typeface="Segoe UI"/>
                <a:ea typeface="+mn-ea"/>
                <a:cs typeface="Segoe UI" pitchFamily="34" charset="0"/>
              </a:rPr>
              <a:t>Azure</a:t>
            </a:r>
          </a:p>
        </p:txBody>
      </p:sp>
      <p:sp>
        <p:nvSpPr>
          <p:cNvPr id="4" name="TextBox 3">
            <a:extLst>
              <a:ext uri="{FF2B5EF4-FFF2-40B4-BE49-F238E27FC236}">
                <a16:creationId xmlns:a16="http://schemas.microsoft.com/office/drawing/2014/main" id="{BA5A9A5A-CA1E-4867-ACF6-CDAB6591F05A}"/>
              </a:ext>
            </a:extLst>
          </p:cNvPr>
          <p:cNvSpPr txBox="1"/>
          <p:nvPr/>
        </p:nvSpPr>
        <p:spPr>
          <a:xfrm>
            <a:off x="1699640" y="5631155"/>
            <a:ext cx="755528"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4">
                    <a:lumMod val="40000"/>
                    <a:lumOff val="60000"/>
                  </a:srgbClr>
                </a:solidFill>
                <a:effectLst/>
                <a:uLnTx/>
                <a:uFillTx/>
                <a:latin typeface="Segoe UI"/>
                <a:ea typeface="+mn-ea"/>
                <a:cs typeface="+mn-cs"/>
              </a:rPr>
              <a:t>58 </a:t>
            </a:r>
            <a:r>
              <a:rPr kumimoji="0" lang="en-US" sz="1200" b="0" i="0" u="none" strike="noStrike" kern="1200" cap="none" spc="0" normalizeH="0" baseline="0" noProof="0">
                <a:ln>
                  <a:noFill/>
                </a:ln>
                <a:solidFill>
                  <a:srgbClr val="0078D4">
                    <a:lumMod val="40000"/>
                    <a:lumOff val="60000"/>
                  </a:srgbClr>
                </a:solidFill>
                <a:effectLst/>
                <a:uLnTx/>
                <a:uFillTx/>
                <a:latin typeface="Segoe UI"/>
                <a:ea typeface="+mn-ea"/>
                <a:cs typeface="+mn-cs"/>
              </a:rPr>
              <a:t>Regions</a:t>
            </a:r>
          </a:p>
        </p:txBody>
      </p:sp>
      <p:sp>
        <p:nvSpPr>
          <p:cNvPr id="279" name="TextBox 278">
            <a:extLst>
              <a:ext uri="{FF2B5EF4-FFF2-40B4-BE49-F238E27FC236}">
                <a16:creationId xmlns:a16="http://schemas.microsoft.com/office/drawing/2014/main" id="{5C4E816E-7ED5-4E9D-8A23-4F3102FB9895}"/>
              </a:ext>
            </a:extLst>
          </p:cNvPr>
          <p:cNvSpPr txBox="1"/>
          <p:nvPr/>
        </p:nvSpPr>
        <p:spPr>
          <a:xfrm>
            <a:off x="3236000" y="5631155"/>
            <a:ext cx="1790555"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4">
                    <a:lumMod val="40000"/>
                    <a:lumOff val="60000"/>
                  </a:srgbClr>
                </a:solidFill>
                <a:effectLst/>
                <a:uLnTx/>
                <a:uFillTx/>
                <a:latin typeface="Segoe UI"/>
                <a:ea typeface="+mn-ea"/>
                <a:cs typeface="+mn-cs"/>
              </a:rPr>
              <a:t>90+ </a:t>
            </a:r>
            <a:r>
              <a:rPr kumimoji="0" lang="en-US" sz="1200" b="0" i="0" u="none" strike="noStrike" kern="1200" cap="none" spc="0" normalizeH="0" baseline="0" noProof="0">
                <a:ln>
                  <a:noFill/>
                </a:ln>
                <a:solidFill>
                  <a:srgbClr val="0078D4">
                    <a:lumMod val="40000"/>
                    <a:lumOff val="60000"/>
                  </a:srgbClr>
                </a:solidFill>
                <a:effectLst/>
                <a:uLnTx/>
                <a:uFillTx/>
                <a:latin typeface="Segoe UI"/>
                <a:ea typeface="+mn-ea"/>
                <a:cs typeface="+mn-cs"/>
              </a:rPr>
              <a:t>Compliance Offerings</a:t>
            </a:r>
          </a:p>
        </p:txBody>
      </p:sp>
      <p:sp>
        <p:nvSpPr>
          <p:cNvPr id="280" name="TextBox 279">
            <a:extLst>
              <a:ext uri="{FF2B5EF4-FFF2-40B4-BE49-F238E27FC236}">
                <a16:creationId xmlns:a16="http://schemas.microsoft.com/office/drawing/2014/main" id="{AED9B58D-8D3F-46AB-A839-EF2CDAF25402}"/>
              </a:ext>
            </a:extLst>
          </p:cNvPr>
          <p:cNvSpPr txBox="1"/>
          <p:nvPr/>
        </p:nvSpPr>
        <p:spPr>
          <a:xfrm>
            <a:off x="8314848" y="5631155"/>
            <a:ext cx="2274598"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4">
                    <a:lumMod val="40000"/>
                    <a:lumOff val="60000"/>
                  </a:srgbClr>
                </a:solidFill>
                <a:effectLst/>
                <a:uLnTx/>
                <a:uFillTx/>
                <a:latin typeface="Segoe UI"/>
                <a:ea typeface="+mn-ea"/>
                <a:cs typeface="+mn-cs"/>
              </a:rPr>
              <a:t>$1B </a:t>
            </a:r>
            <a:r>
              <a:rPr kumimoji="0" lang="en-US" sz="1200" b="0" i="0" u="none" strike="noStrike" kern="1200" cap="none" spc="0" normalizeH="0" baseline="0" noProof="0">
                <a:ln>
                  <a:noFill/>
                </a:ln>
                <a:solidFill>
                  <a:srgbClr val="0078D4">
                    <a:lumMod val="40000"/>
                    <a:lumOff val="60000"/>
                  </a:srgbClr>
                </a:solidFill>
                <a:effectLst/>
                <a:uLnTx/>
                <a:uFillTx/>
                <a:latin typeface="Segoe UI"/>
                <a:ea typeface="+mn-ea"/>
                <a:cs typeface="+mn-cs"/>
              </a:rPr>
              <a:t>Security investment per year </a:t>
            </a:r>
            <a:br>
              <a:rPr kumimoji="0" lang="en-US" sz="1200" b="0" i="0" u="none" strike="noStrike" kern="1200" cap="none" spc="0" normalizeH="0" baseline="0" noProof="0">
                <a:ln>
                  <a:noFill/>
                </a:ln>
                <a:solidFill>
                  <a:srgbClr val="0078D4">
                    <a:lumMod val="40000"/>
                    <a:lumOff val="60000"/>
                  </a:srgbClr>
                </a:solidFill>
                <a:effectLst/>
                <a:uLnTx/>
                <a:uFillTx/>
                <a:latin typeface="Segoe UI"/>
                <a:ea typeface="+mn-ea"/>
                <a:cs typeface="+mn-cs"/>
              </a:rPr>
            </a:br>
            <a:endParaRPr kumimoji="0" lang="en-US" sz="1200" b="0" i="0" u="none" strike="noStrike" kern="1200" cap="none" spc="0" normalizeH="0" baseline="0" noProof="0">
              <a:ln>
                <a:noFill/>
              </a:ln>
              <a:solidFill>
                <a:srgbClr val="0078D4">
                  <a:lumMod val="40000"/>
                  <a:lumOff val="60000"/>
                </a:srgbClr>
              </a:solidFill>
              <a:effectLst/>
              <a:uLnTx/>
              <a:uFillTx/>
              <a:latin typeface="Segoe UI"/>
              <a:ea typeface="+mn-ea"/>
              <a:cs typeface="+mn-cs"/>
            </a:endParaRPr>
          </a:p>
        </p:txBody>
      </p:sp>
      <p:sp>
        <p:nvSpPr>
          <p:cNvPr id="281" name="TextBox 280">
            <a:extLst>
              <a:ext uri="{FF2B5EF4-FFF2-40B4-BE49-F238E27FC236}">
                <a16:creationId xmlns:a16="http://schemas.microsoft.com/office/drawing/2014/main" id="{7CAE9BC3-7764-44FE-9A9D-6B35B78BD9F6}"/>
              </a:ext>
            </a:extLst>
          </p:cNvPr>
          <p:cNvSpPr txBox="1"/>
          <p:nvPr/>
        </p:nvSpPr>
        <p:spPr>
          <a:xfrm>
            <a:off x="5707504" y="5631155"/>
            <a:ext cx="1873078"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4">
                    <a:lumMod val="40000"/>
                    <a:lumOff val="60000"/>
                  </a:srgbClr>
                </a:solidFill>
                <a:effectLst/>
                <a:uLnTx/>
                <a:uFillTx/>
                <a:latin typeface="Segoe UI"/>
                <a:ea typeface="+mn-ea"/>
                <a:cs typeface="+mn-cs"/>
              </a:rPr>
              <a:t>95% </a:t>
            </a:r>
            <a:r>
              <a:rPr kumimoji="0" lang="en-US" sz="1200" b="0" i="0" u="none" strike="noStrike" kern="1200" cap="none" spc="0" normalizeH="0" baseline="0" noProof="0">
                <a:ln>
                  <a:noFill/>
                </a:ln>
                <a:solidFill>
                  <a:srgbClr val="0078D4">
                    <a:lumMod val="40000"/>
                    <a:lumOff val="60000"/>
                  </a:srgbClr>
                </a:solidFill>
                <a:effectLst/>
                <a:uLnTx/>
                <a:uFillTx/>
                <a:latin typeface="Segoe UI"/>
                <a:ea typeface="+mn-ea"/>
                <a:cs typeface="+mn-cs"/>
              </a:rPr>
              <a:t>Fortune 500 use Azure</a:t>
            </a:r>
          </a:p>
        </p:txBody>
      </p:sp>
      <p:sp>
        <p:nvSpPr>
          <p:cNvPr id="62" name="Freeform 2">
            <a:extLst>
              <a:ext uri="{FF2B5EF4-FFF2-40B4-BE49-F238E27FC236}">
                <a16:creationId xmlns:a16="http://schemas.microsoft.com/office/drawing/2014/main" id="{E7891629-CE85-49DA-952B-E26F4DF17B78}"/>
              </a:ext>
            </a:extLst>
          </p:cNvPr>
          <p:cNvSpPr>
            <a:spLocks noChangeArrowheads="1"/>
          </p:cNvSpPr>
          <p:nvPr/>
        </p:nvSpPr>
        <p:spPr bwMode="auto">
          <a:xfrm>
            <a:off x="1461235" y="1251947"/>
            <a:ext cx="9276132" cy="3497119"/>
          </a:xfrm>
          <a:prstGeom prst="rect">
            <a:avLst/>
          </a:prstGeom>
          <a:solidFill>
            <a:schemeClr val="bg1"/>
          </a:solidFill>
          <a:ln w="3175" cap="flat">
            <a:solidFill>
              <a:schemeClr val="accent1">
                <a:lumMod val="60000"/>
                <a:lumOff val="40000"/>
                <a:alpha val="85000"/>
              </a:schemeClr>
            </a:solidFill>
            <a:miter lim="800000"/>
            <a:headEnd/>
            <a:tailEnd/>
          </a:ln>
          <a:effectLst/>
        </p:spPr>
        <p:txBody>
          <a:bodyPr wrap="none" lIns="182880" tIns="9144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78D4"/>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78D4"/>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78D4"/>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78D4"/>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78D4"/>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8D4">
                    <a:lumMod val="60000"/>
                    <a:lumOff val="40000"/>
                  </a:srgbClr>
                </a:solidFill>
                <a:effectLst/>
                <a:uLnTx/>
                <a:uFillTx/>
                <a:latin typeface="Segoe UI Semibold"/>
                <a:ea typeface="+mn-ea"/>
                <a:cs typeface="+mn-cs"/>
              </a:rPr>
              <a:t>Azure A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64" name="Freeform 2">
            <a:extLst>
              <a:ext uri="{FF2B5EF4-FFF2-40B4-BE49-F238E27FC236}">
                <a16:creationId xmlns:a16="http://schemas.microsoft.com/office/drawing/2014/main" id="{177C70A8-F491-492E-8935-AFC392151CB3}"/>
              </a:ext>
            </a:extLst>
          </p:cNvPr>
          <p:cNvSpPr>
            <a:spLocks noChangeArrowheads="1"/>
          </p:cNvSpPr>
          <p:nvPr/>
        </p:nvSpPr>
        <p:spPr bwMode="auto">
          <a:xfrm>
            <a:off x="3205165" y="3675416"/>
            <a:ext cx="7298510" cy="874538"/>
          </a:xfrm>
          <a:prstGeom prst="rect">
            <a:avLst/>
          </a:prstGeom>
          <a:solidFill>
            <a:schemeClr val="bg1"/>
          </a:solidFill>
          <a:ln w="9525" cap="flat">
            <a:solidFill>
              <a:schemeClr val="accent1">
                <a:lumMod val="60000"/>
                <a:lumOff val="40000"/>
              </a:schemeClr>
            </a:solidFill>
            <a:miter lim="800000"/>
            <a:headEnd/>
            <a:tailEnd/>
          </a:ln>
          <a:effectLst/>
        </p:spPr>
        <p:txBody>
          <a:bodyPr wrap="none"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a:ea typeface="+mn-ea"/>
                <a:cs typeface="Arial" charset="0"/>
              </a:rPr>
              <a:t>ML platform</a:t>
            </a:r>
          </a:p>
        </p:txBody>
      </p:sp>
      <p:sp>
        <p:nvSpPr>
          <p:cNvPr id="181" name="Freeform 2">
            <a:extLst>
              <a:ext uri="{FF2B5EF4-FFF2-40B4-BE49-F238E27FC236}">
                <a16:creationId xmlns:a16="http://schemas.microsoft.com/office/drawing/2014/main" id="{8AE38316-F648-4D1E-9945-1CDACFAFC9E9}"/>
              </a:ext>
            </a:extLst>
          </p:cNvPr>
          <p:cNvSpPr>
            <a:spLocks noChangeArrowheads="1"/>
          </p:cNvSpPr>
          <p:nvPr/>
        </p:nvSpPr>
        <p:spPr bwMode="auto">
          <a:xfrm>
            <a:off x="3205166" y="2676762"/>
            <a:ext cx="7298510" cy="857925"/>
          </a:xfrm>
          <a:prstGeom prst="rect">
            <a:avLst/>
          </a:prstGeom>
          <a:solidFill>
            <a:schemeClr val="bg1"/>
          </a:solidFill>
          <a:ln w="9525" cap="flat">
            <a:solidFill>
              <a:schemeClr val="accent1">
                <a:lumMod val="60000"/>
                <a:lumOff val="40000"/>
              </a:schemeClr>
            </a:solidFill>
            <a:miter lim="800000"/>
            <a:headEnd/>
            <a:tailEnd/>
          </a:ln>
          <a:effectLst/>
        </p:spPr>
        <p:txBody>
          <a:bodyPr wrap="none"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a:ea typeface="+mn-ea"/>
                <a:cs typeface="Arial" charset="0"/>
              </a:rPr>
              <a:t>Customizable mode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lumMod val="75000"/>
                  </a:prstClr>
                </a:solidFill>
                <a:effectLst/>
                <a:uLnTx/>
                <a:uFillTx/>
                <a:latin typeface="Segoe UI"/>
                <a:ea typeface="+mn-ea"/>
                <a:cs typeface="Arial" charset="0"/>
              </a:rPr>
              <a:t>Vision, Speech, Language, Decision</a:t>
            </a:r>
            <a:endParaRPr kumimoji="0" lang="en-US" sz="900" b="1" i="0" u="none" strike="noStrike" kern="0" cap="none" spc="0" normalizeH="0" baseline="0" noProof="0">
              <a:ln>
                <a:noFill/>
              </a:ln>
              <a:solidFill>
                <a:prstClr val="white">
                  <a:lumMod val="75000"/>
                </a:prstClr>
              </a:solidFill>
              <a:effectLst/>
              <a:uLnTx/>
              <a:uFillTx/>
              <a:latin typeface="Segoe UI"/>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endParaRPr>
          </a:p>
        </p:txBody>
      </p:sp>
      <p:sp>
        <p:nvSpPr>
          <p:cNvPr id="197" name="Freeform 2">
            <a:extLst>
              <a:ext uri="{FF2B5EF4-FFF2-40B4-BE49-F238E27FC236}">
                <a16:creationId xmlns:a16="http://schemas.microsoft.com/office/drawing/2014/main" id="{3D3F68E2-8440-4EC2-9015-FE315F1A0A42}"/>
              </a:ext>
            </a:extLst>
          </p:cNvPr>
          <p:cNvSpPr>
            <a:spLocks noChangeArrowheads="1"/>
          </p:cNvSpPr>
          <p:nvPr/>
        </p:nvSpPr>
        <p:spPr bwMode="auto">
          <a:xfrm>
            <a:off x="3205166" y="1624700"/>
            <a:ext cx="7298508" cy="942842"/>
          </a:xfrm>
          <a:prstGeom prst="rect">
            <a:avLst/>
          </a:prstGeom>
          <a:solidFill>
            <a:schemeClr val="bg1"/>
          </a:solidFill>
          <a:ln w="9525" cap="flat">
            <a:solidFill>
              <a:schemeClr val="accent1">
                <a:lumMod val="60000"/>
                <a:lumOff val="40000"/>
              </a:schemeClr>
            </a:solidFill>
            <a:miter lim="800000"/>
            <a:headEnd/>
            <a:tailEnd/>
          </a:ln>
          <a:effectLst/>
        </p:spPr>
        <p:txBody>
          <a:bodyPr wrap="none"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a:ea typeface="Arial" charset="0"/>
                <a:cs typeface="Arial" charset="0"/>
              </a:rPr>
              <a:t>Scenario-specific services</a:t>
            </a:r>
          </a:p>
        </p:txBody>
      </p:sp>
      <p:sp>
        <p:nvSpPr>
          <p:cNvPr id="68" name="TextBox 67">
            <a:extLst>
              <a:ext uri="{FF2B5EF4-FFF2-40B4-BE49-F238E27FC236}">
                <a16:creationId xmlns:a16="http://schemas.microsoft.com/office/drawing/2014/main" id="{F1A276D4-EA2F-4E0F-AADF-8D259B5E3A37}"/>
              </a:ext>
            </a:extLst>
          </p:cNvPr>
          <p:cNvSpPr txBox="1"/>
          <p:nvPr/>
        </p:nvSpPr>
        <p:spPr>
          <a:xfrm>
            <a:off x="6262933" y="3285923"/>
            <a:ext cx="1112484"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50E6FF"/>
                </a:solidFill>
                <a:effectLst/>
                <a:uLnTx/>
                <a:uFillTx/>
                <a:latin typeface="Segoe UI Semibold" panose="020B0702040204020203" pitchFamily="34" charset="0"/>
                <a:ea typeface="+mn-ea"/>
                <a:cs typeface="Segoe UI Semibold" panose="020B0702040204020203" pitchFamily="34" charset="0"/>
              </a:rPr>
              <a:t>Cognitive Services</a:t>
            </a:r>
          </a:p>
        </p:txBody>
      </p:sp>
      <p:grpSp>
        <p:nvGrpSpPr>
          <p:cNvPr id="69" name="Group 68">
            <a:extLst>
              <a:ext uri="{FF2B5EF4-FFF2-40B4-BE49-F238E27FC236}">
                <a16:creationId xmlns:a16="http://schemas.microsoft.com/office/drawing/2014/main" id="{B621BC8B-55F1-414B-A9EE-DB803C3C8295}"/>
              </a:ext>
            </a:extLst>
          </p:cNvPr>
          <p:cNvGrpSpPr/>
          <p:nvPr/>
        </p:nvGrpSpPr>
        <p:grpSpPr>
          <a:xfrm>
            <a:off x="6568849" y="2855403"/>
            <a:ext cx="500652" cy="314339"/>
            <a:chOff x="4660062" y="959354"/>
            <a:chExt cx="3869807" cy="2261894"/>
          </a:xfrm>
          <a:solidFill>
            <a:schemeClr val="accent1">
              <a:lumMod val="75000"/>
            </a:schemeClr>
          </a:solidFill>
        </p:grpSpPr>
        <p:sp>
          <p:nvSpPr>
            <p:cNvPr id="70" name="Freeform: Shape 69">
              <a:extLst>
                <a:ext uri="{FF2B5EF4-FFF2-40B4-BE49-F238E27FC236}">
                  <a16:creationId xmlns:a16="http://schemas.microsoft.com/office/drawing/2014/main" id="{0750D6D3-59FF-4391-A8DF-8C765029A20A}"/>
                </a:ext>
              </a:extLst>
            </p:cNvPr>
            <p:cNvSpPr/>
            <p:nvPr/>
          </p:nvSpPr>
          <p:spPr bwMode="auto">
            <a:xfrm>
              <a:off x="4660062" y="959354"/>
              <a:ext cx="3869807" cy="2261894"/>
            </a:xfrm>
            <a:custGeom>
              <a:avLst/>
              <a:gdLst>
                <a:gd name="connsiteX0" fmla="*/ 1718020 w 3869807"/>
                <a:gd name="connsiteY0" fmla="*/ 0 h 2261894"/>
                <a:gd name="connsiteX1" fmla="*/ 1940931 w 3869807"/>
                <a:gd name="connsiteY1" fmla="*/ 49419 h 2261894"/>
                <a:gd name="connsiteX2" fmla="*/ 2005754 w 3869807"/>
                <a:gd name="connsiteY2" fmla="*/ 88056 h 2261894"/>
                <a:gd name="connsiteX3" fmla="*/ 2071212 w 3869807"/>
                <a:gd name="connsiteY3" fmla="*/ 49419 h 2261894"/>
                <a:gd name="connsiteX4" fmla="*/ 2296308 w 3869807"/>
                <a:gd name="connsiteY4" fmla="*/ 0 h 2261894"/>
                <a:gd name="connsiteX5" fmla="*/ 2705220 w 3869807"/>
                <a:gd name="connsiteY5" fmla="*/ 184188 h 2261894"/>
                <a:gd name="connsiteX6" fmla="*/ 2707126 w 3869807"/>
                <a:gd name="connsiteY6" fmla="*/ 186700 h 2261894"/>
                <a:gd name="connsiteX7" fmla="*/ 2770078 w 3869807"/>
                <a:gd name="connsiteY7" fmla="*/ 179799 h 2261894"/>
                <a:gd name="connsiteX8" fmla="*/ 3336618 w 3869807"/>
                <a:gd name="connsiteY8" fmla="*/ 681919 h 2261894"/>
                <a:gd name="connsiteX9" fmla="*/ 3339441 w 3869807"/>
                <a:gd name="connsiteY9" fmla="*/ 712375 h 2261894"/>
                <a:gd name="connsiteX10" fmla="*/ 3412548 w 3869807"/>
                <a:gd name="connsiteY10" fmla="*/ 720468 h 2261894"/>
                <a:gd name="connsiteX11" fmla="*/ 3869807 w 3869807"/>
                <a:gd name="connsiteY11" fmla="*/ 1336549 h 2261894"/>
                <a:gd name="connsiteX12" fmla="*/ 3297134 w 3869807"/>
                <a:gd name="connsiteY12" fmla="*/ 1965406 h 2261894"/>
                <a:gd name="connsiteX13" fmla="*/ 3181721 w 3869807"/>
                <a:gd name="connsiteY13" fmla="*/ 1952630 h 2261894"/>
                <a:gd name="connsiteX14" fmla="*/ 3131470 w 3869807"/>
                <a:gd name="connsiteY14" fmla="*/ 1935501 h 2261894"/>
                <a:gd name="connsiteX15" fmla="*/ 3074367 w 3869807"/>
                <a:gd name="connsiteY15" fmla="*/ 2006225 h 2261894"/>
                <a:gd name="connsiteX16" fmla="*/ 2639217 w 3869807"/>
                <a:gd name="connsiteY16" fmla="*/ 2190413 h 2261894"/>
                <a:gd name="connsiteX17" fmla="*/ 2399678 w 3869807"/>
                <a:gd name="connsiteY17" fmla="*/ 2140994 h 2261894"/>
                <a:gd name="connsiteX18" fmla="*/ 2387414 w 3869807"/>
                <a:gd name="connsiteY18" fmla="*/ 2134192 h 2261894"/>
                <a:gd name="connsiteX19" fmla="*/ 2376353 w 3869807"/>
                <a:gd name="connsiteY19" fmla="*/ 2142287 h 2261894"/>
                <a:gd name="connsiteX20" fmla="*/ 1934904 w 3869807"/>
                <a:gd name="connsiteY20" fmla="*/ 2261894 h 2261894"/>
                <a:gd name="connsiteX21" fmla="*/ 1493456 w 3869807"/>
                <a:gd name="connsiteY21" fmla="*/ 2142287 h 2261894"/>
                <a:gd name="connsiteX22" fmla="*/ 1462383 w 3869807"/>
                <a:gd name="connsiteY22" fmla="*/ 2119547 h 2261894"/>
                <a:gd name="connsiteX23" fmla="*/ 1394617 w 3869807"/>
                <a:gd name="connsiteY23" fmla="*/ 2141043 h 2261894"/>
                <a:gd name="connsiteX24" fmla="*/ 1270593 w 3869807"/>
                <a:gd name="connsiteY24" fmla="*/ 2153819 h 2261894"/>
                <a:gd name="connsiteX25" fmla="*/ 926521 w 3869807"/>
                <a:gd name="connsiteY25" fmla="*/ 2046420 h 2261894"/>
                <a:gd name="connsiteX26" fmla="*/ 858726 w 3869807"/>
                <a:gd name="connsiteY26" fmla="*/ 1989261 h 2261894"/>
                <a:gd name="connsiteX27" fmla="*/ 803831 w 3869807"/>
                <a:gd name="connsiteY27" fmla="*/ 2005965 h 2261894"/>
                <a:gd name="connsiteX28" fmla="*/ 669003 w 3869807"/>
                <a:gd name="connsiteY28" fmla="*/ 2019288 h 2261894"/>
                <a:gd name="connsiteX29" fmla="*/ 0 w 3869807"/>
                <a:gd name="connsiteY29" fmla="*/ 1363490 h 2261894"/>
                <a:gd name="connsiteX30" fmla="*/ 534175 w 3869807"/>
                <a:gd name="connsiteY30" fmla="*/ 721015 h 2261894"/>
                <a:gd name="connsiteX31" fmla="*/ 572825 w 3869807"/>
                <a:gd name="connsiteY31" fmla="*/ 717196 h 2261894"/>
                <a:gd name="connsiteX32" fmla="*/ 574899 w 3869807"/>
                <a:gd name="connsiteY32" fmla="*/ 696829 h 2261894"/>
                <a:gd name="connsiteX33" fmla="*/ 1223715 w 3869807"/>
                <a:gd name="connsiteY33" fmla="*/ 173197 h 2261894"/>
                <a:gd name="connsiteX34" fmla="*/ 1315138 w 3869807"/>
                <a:gd name="connsiteY34" fmla="*/ 182323 h 2261894"/>
                <a:gd name="connsiteX35" fmla="*/ 1397833 w 3869807"/>
                <a:gd name="connsiteY35" fmla="*/ 107399 h 2261894"/>
                <a:gd name="connsiteX36" fmla="*/ 1718020 w 3869807"/>
                <a:gd name="connsiteY36" fmla="*/ 0 h 2261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869807" h="2261894">
                  <a:moveTo>
                    <a:pt x="1718020" y="0"/>
                  </a:moveTo>
                  <a:cubicBezTo>
                    <a:pt x="1797090" y="0"/>
                    <a:pt x="1872417" y="17597"/>
                    <a:pt x="1940931" y="49419"/>
                  </a:cubicBezTo>
                  <a:lnTo>
                    <a:pt x="2005754" y="88056"/>
                  </a:lnTo>
                  <a:lnTo>
                    <a:pt x="2071212" y="49419"/>
                  </a:lnTo>
                  <a:cubicBezTo>
                    <a:pt x="2140398" y="17597"/>
                    <a:pt x="2216463" y="0"/>
                    <a:pt x="2296308" y="0"/>
                  </a:cubicBezTo>
                  <a:cubicBezTo>
                    <a:pt x="2455998" y="0"/>
                    <a:pt x="2600570" y="70387"/>
                    <a:pt x="2705220" y="184188"/>
                  </a:cubicBezTo>
                  <a:lnTo>
                    <a:pt x="2707126" y="186700"/>
                  </a:lnTo>
                  <a:lnTo>
                    <a:pt x="2770078" y="179799"/>
                  </a:lnTo>
                  <a:cubicBezTo>
                    <a:pt x="3049536" y="179799"/>
                    <a:pt x="3282694" y="395360"/>
                    <a:pt x="3336618" y="681919"/>
                  </a:cubicBezTo>
                  <a:lnTo>
                    <a:pt x="3339441" y="712375"/>
                  </a:lnTo>
                  <a:lnTo>
                    <a:pt x="3412548" y="720468"/>
                  </a:lnTo>
                  <a:cubicBezTo>
                    <a:pt x="3673506" y="779107"/>
                    <a:pt x="3869807" y="1032655"/>
                    <a:pt x="3869807" y="1336549"/>
                  </a:cubicBezTo>
                  <a:cubicBezTo>
                    <a:pt x="3869807" y="1683857"/>
                    <a:pt x="3613413" y="1965406"/>
                    <a:pt x="3297134" y="1965406"/>
                  </a:cubicBezTo>
                  <a:cubicBezTo>
                    <a:pt x="3257599" y="1965406"/>
                    <a:pt x="3219000" y="1961007"/>
                    <a:pt x="3181721" y="1952630"/>
                  </a:cubicBezTo>
                  <a:lnTo>
                    <a:pt x="3131470" y="1935501"/>
                  </a:lnTo>
                  <a:lnTo>
                    <a:pt x="3074367" y="2006225"/>
                  </a:lnTo>
                  <a:cubicBezTo>
                    <a:pt x="2963002" y="2120026"/>
                    <a:pt x="2809154" y="2190413"/>
                    <a:pt x="2639217" y="2190413"/>
                  </a:cubicBezTo>
                  <a:cubicBezTo>
                    <a:pt x="2554249" y="2190413"/>
                    <a:pt x="2473303" y="2172816"/>
                    <a:pt x="2399678" y="2140994"/>
                  </a:cubicBezTo>
                  <a:lnTo>
                    <a:pt x="2387414" y="2134192"/>
                  </a:lnTo>
                  <a:lnTo>
                    <a:pt x="2376353" y="2142287"/>
                  </a:lnTo>
                  <a:cubicBezTo>
                    <a:pt x="2250339" y="2217801"/>
                    <a:pt x="2098427" y="2261894"/>
                    <a:pt x="1934904" y="2261894"/>
                  </a:cubicBezTo>
                  <a:cubicBezTo>
                    <a:pt x="1771382" y="2261894"/>
                    <a:pt x="1619470" y="2217801"/>
                    <a:pt x="1493456" y="2142287"/>
                  </a:cubicBezTo>
                  <a:lnTo>
                    <a:pt x="1462383" y="2119547"/>
                  </a:lnTo>
                  <a:lnTo>
                    <a:pt x="1394617" y="2141043"/>
                  </a:lnTo>
                  <a:cubicBezTo>
                    <a:pt x="1354556" y="2149420"/>
                    <a:pt x="1313077" y="2153819"/>
                    <a:pt x="1270593" y="2153819"/>
                  </a:cubicBezTo>
                  <a:cubicBezTo>
                    <a:pt x="1143141" y="2153819"/>
                    <a:pt x="1024738" y="2114226"/>
                    <a:pt x="926521" y="2046420"/>
                  </a:cubicBezTo>
                  <a:lnTo>
                    <a:pt x="858726" y="1989261"/>
                  </a:lnTo>
                  <a:lnTo>
                    <a:pt x="803831" y="2005965"/>
                  </a:lnTo>
                  <a:cubicBezTo>
                    <a:pt x="760280" y="2014700"/>
                    <a:pt x="715188" y="2019288"/>
                    <a:pt x="669003" y="2019288"/>
                  </a:cubicBezTo>
                  <a:cubicBezTo>
                    <a:pt x="299523" y="2019288"/>
                    <a:pt x="0" y="1725677"/>
                    <a:pt x="0" y="1363490"/>
                  </a:cubicBezTo>
                  <a:cubicBezTo>
                    <a:pt x="0" y="1046576"/>
                    <a:pt x="229322" y="782166"/>
                    <a:pt x="534175" y="721015"/>
                  </a:cubicBezTo>
                  <a:lnTo>
                    <a:pt x="572825" y="717196"/>
                  </a:lnTo>
                  <a:lnTo>
                    <a:pt x="574899" y="696829"/>
                  </a:lnTo>
                  <a:cubicBezTo>
                    <a:pt x="636653" y="397993"/>
                    <a:pt x="903674" y="173197"/>
                    <a:pt x="1223715" y="173197"/>
                  </a:cubicBezTo>
                  <a:lnTo>
                    <a:pt x="1315138" y="182323"/>
                  </a:lnTo>
                  <a:lnTo>
                    <a:pt x="1397833" y="107399"/>
                  </a:lnTo>
                  <a:cubicBezTo>
                    <a:pt x="1489232" y="39593"/>
                    <a:pt x="1599416" y="0"/>
                    <a:pt x="1718020" y="0"/>
                  </a:cubicBezTo>
                  <a:close/>
                </a:path>
              </a:pathLst>
            </a:custGeom>
            <a:grpFill/>
            <a:ln w="9525" cap="sq">
              <a:solidFill>
                <a:schemeClr val="accent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 name="Oval 70">
              <a:extLst>
                <a:ext uri="{FF2B5EF4-FFF2-40B4-BE49-F238E27FC236}">
                  <a16:creationId xmlns:a16="http://schemas.microsoft.com/office/drawing/2014/main" id="{DE067607-6BE3-4C31-9E09-47AB62D56FF8}"/>
                </a:ext>
              </a:extLst>
            </p:cNvPr>
            <p:cNvSpPr/>
            <p:nvPr/>
          </p:nvSpPr>
          <p:spPr bwMode="auto">
            <a:xfrm>
              <a:off x="6396421" y="1389756"/>
              <a:ext cx="397226" cy="397042"/>
            </a:xfrm>
            <a:prstGeom prst="ellipse">
              <a:avLst/>
            </a:prstGeom>
            <a:grpFill/>
            <a:ln w="9525" cap="sq">
              <a:solidFill>
                <a:schemeClr val="accent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 name="Oval 71">
              <a:extLst>
                <a:ext uri="{FF2B5EF4-FFF2-40B4-BE49-F238E27FC236}">
                  <a16:creationId xmlns:a16="http://schemas.microsoft.com/office/drawing/2014/main" id="{EEE09E86-DF96-4B9B-83F3-2D1D6B011D9E}"/>
                </a:ext>
              </a:extLst>
            </p:cNvPr>
            <p:cNvSpPr/>
            <p:nvPr/>
          </p:nvSpPr>
          <p:spPr bwMode="auto">
            <a:xfrm>
              <a:off x="7539697" y="1939914"/>
              <a:ext cx="397226" cy="397042"/>
            </a:xfrm>
            <a:prstGeom prst="ellipse">
              <a:avLst/>
            </a:prstGeom>
            <a:grpFill/>
            <a:ln w="9525" cap="sq">
              <a:solidFill>
                <a:schemeClr val="accent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 name="Oval 72">
              <a:extLst>
                <a:ext uri="{FF2B5EF4-FFF2-40B4-BE49-F238E27FC236}">
                  <a16:creationId xmlns:a16="http://schemas.microsoft.com/office/drawing/2014/main" id="{EB91AF79-4761-4417-B28A-DEDEDE783E24}"/>
                </a:ext>
              </a:extLst>
            </p:cNvPr>
            <p:cNvSpPr/>
            <p:nvPr/>
          </p:nvSpPr>
          <p:spPr bwMode="auto">
            <a:xfrm>
              <a:off x="5107942" y="2175810"/>
              <a:ext cx="397226" cy="397042"/>
            </a:xfrm>
            <a:prstGeom prst="ellipse">
              <a:avLst/>
            </a:prstGeom>
            <a:grpFill/>
            <a:ln w="9525" cap="sq">
              <a:solidFill>
                <a:schemeClr val="accent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 name="Oval 73">
              <a:extLst>
                <a:ext uri="{FF2B5EF4-FFF2-40B4-BE49-F238E27FC236}">
                  <a16:creationId xmlns:a16="http://schemas.microsoft.com/office/drawing/2014/main" id="{85B2B09C-2D2E-479B-8235-9A72562533C6}"/>
                </a:ext>
              </a:extLst>
            </p:cNvPr>
            <p:cNvSpPr/>
            <p:nvPr/>
          </p:nvSpPr>
          <p:spPr bwMode="auto">
            <a:xfrm>
              <a:off x="6259972" y="2398580"/>
              <a:ext cx="397226" cy="397042"/>
            </a:xfrm>
            <a:prstGeom prst="ellipse">
              <a:avLst/>
            </a:prstGeom>
            <a:grpFill/>
            <a:ln w="9525" cap="sq">
              <a:solidFill>
                <a:schemeClr val="accent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5" name="Connector: Elbow 74">
              <a:extLst>
                <a:ext uri="{FF2B5EF4-FFF2-40B4-BE49-F238E27FC236}">
                  <a16:creationId xmlns:a16="http://schemas.microsoft.com/office/drawing/2014/main" id="{99DB6FBC-2DB3-408E-ACCF-51DC991413C9}"/>
                </a:ext>
              </a:extLst>
            </p:cNvPr>
            <p:cNvCxnSpPr>
              <a:stCxn id="73" idx="6"/>
            </p:cNvCxnSpPr>
            <p:nvPr/>
          </p:nvCxnSpPr>
          <p:spPr>
            <a:xfrm>
              <a:off x="5505168" y="2374331"/>
              <a:ext cx="311340" cy="718784"/>
            </a:xfrm>
            <a:prstGeom prst="bentConnector2">
              <a:avLst/>
            </a:prstGeom>
            <a:grpFill/>
            <a:ln w="9525" cap="sq">
              <a:solidFill>
                <a:schemeClr val="accent1">
                  <a:lumMod val="60000"/>
                  <a:lumOff val="40000"/>
                </a:schemeClr>
              </a:solidFill>
              <a:prstDash val="solid"/>
              <a:miter lim="800000"/>
              <a:headEnd/>
              <a:tailEnd/>
            </a:ln>
          </p:spPr>
        </p:cxnSp>
        <p:cxnSp>
          <p:nvCxnSpPr>
            <p:cNvPr id="76" name="Connector: Elbow 75">
              <a:extLst>
                <a:ext uri="{FF2B5EF4-FFF2-40B4-BE49-F238E27FC236}">
                  <a16:creationId xmlns:a16="http://schemas.microsoft.com/office/drawing/2014/main" id="{A019CC1A-994D-4507-8E91-492227EBB96F}"/>
                </a:ext>
              </a:extLst>
            </p:cNvPr>
            <p:cNvCxnSpPr>
              <a:cxnSpLocks/>
              <a:stCxn id="74" idx="0"/>
            </p:cNvCxnSpPr>
            <p:nvPr/>
          </p:nvCxnSpPr>
          <p:spPr>
            <a:xfrm rot="16200000" flipV="1">
              <a:off x="5541469" y="1481464"/>
              <a:ext cx="1259426" cy="574806"/>
            </a:xfrm>
            <a:prstGeom prst="bentConnector3">
              <a:avLst>
                <a:gd name="adj1" fmla="val 21955"/>
              </a:avLst>
            </a:prstGeom>
            <a:grpFill/>
            <a:ln w="9525" cap="sq">
              <a:solidFill>
                <a:schemeClr val="accent1">
                  <a:lumMod val="60000"/>
                  <a:lumOff val="40000"/>
                </a:schemeClr>
              </a:solidFill>
              <a:prstDash val="solid"/>
              <a:miter lim="800000"/>
              <a:headEnd/>
              <a:tailEnd/>
            </a:ln>
          </p:spPr>
        </p:cxnSp>
        <p:cxnSp>
          <p:nvCxnSpPr>
            <p:cNvPr id="77" name="Connector: Elbow 76">
              <a:extLst>
                <a:ext uri="{FF2B5EF4-FFF2-40B4-BE49-F238E27FC236}">
                  <a16:creationId xmlns:a16="http://schemas.microsoft.com/office/drawing/2014/main" id="{D50571F1-6F6A-4091-A570-88CDB34B5699}"/>
                </a:ext>
              </a:extLst>
            </p:cNvPr>
            <p:cNvCxnSpPr>
              <a:cxnSpLocks/>
              <a:stCxn id="71" idx="6"/>
            </p:cNvCxnSpPr>
            <p:nvPr/>
          </p:nvCxnSpPr>
          <p:spPr>
            <a:xfrm>
              <a:off x="6793647" y="1588277"/>
              <a:ext cx="376193" cy="1553213"/>
            </a:xfrm>
            <a:prstGeom prst="bentConnector2">
              <a:avLst/>
            </a:prstGeom>
            <a:grpFill/>
            <a:ln w="9525" cap="flat">
              <a:solidFill>
                <a:schemeClr val="accent1">
                  <a:lumMod val="60000"/>
                  <a:lumOff val="40000"/>
                </a:schemeClr>
              </a:solidFill>
              <a:prstDash val="solid"/>
              <a:miter lim="800000"/>
              <a:headEnd/>
              <a:tailEnd/>
            </a:ln>
          </p:spPr>
        </p:cxnSp>
        <p:cxnSp>
          <p:nvCxnSpPr>
            <p:cNvPr id="78" name="Connector: Elbow 77">
              <a:extLst>
                <a:ext uri="{FF2B5EF4-FFF2-40B4-BE49-F238E27FC236}">
                  <a16:creationId xmlns:a16="http://schemas.microsoft.com/office/drawing/2014/main" id="{A2288FF4-B092-4EAF-855D-C470A1DB0EAE}"/>
                </a:ext>
              </a:extLst>
            </p:cNvPr>
            <p:cNvCxnSpPr>
              <a:stCxn id="72" idx="4"/>
            </p:cNvCxnSpPr>
            <p:nvPr/>
          </p:nvCxnSpPr>
          <p:spPr>
            <a:xfrm rot="5400000">
              <a:off x="7356644" y="2150264"/>
              <a:ext cx="194975" cy="568358"/>
            </a:xfrm>
            <a:prstGeom prst="bentConnector2">
              <a:avLst/>
            </a:prstGeom>
            <a:grpFill/>
            <a:ln w="9525" cap="sq">
              <a:solidFill>
                <a:schemeClr val="accent1">
                  <a:lumMod val="60000"/>
                  <a:lumOff val="40000"/>
                </a:schemeClr>
              </a:solidFill>
              <a:prstDash val="solid"/>
              <a:miter lim="800000"/>
              <a:headEnd/>
              <a:tailEnd/>
            </a:ln>
          </p:spPr>
        </p:cxnSp>
      </p:grpSp>
      <p:sp>
        <p:nvSpPr>
          <p:cNvPr id="83" name="TextBox 82">
            <a:extLst>
              <a:ext uri="{FF2B5EF4-FFF2-40B4-BE49-F238E27FC236}">
                <a16:creationId xmlns:a16="http://schemas.microsoft.com/office/drawing/2014/main" id="{B543AE3B-96B0-4233-B5AD-397B6086F68E}"/>
              </a:ext>
            </a:extLst>
          </p:cNvPr>
          <p:cNvSpPr txBox="1"/>
          <p:nvPr/>
        </p:nvSpPr>
        <p:spPr>
          <a:xfrm>
            <a:off x="6078588" y="4315006"/>
            <a:ext cx="1481175"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50E6FF"/>
                </a:solidFill>
                <a:effectLst/>
                <a:uLnTx/>
                <a:uFillTx/>
                <a:latin typeface="Segoe UI Semibold" panose="020B0702040204020203" pitchFamily="34" charset="0"/>
                <a:ea typeface="+mn-ea"/>
                <a:cs typeface="Segoe UI Semibold" panose="020B0702040204020203" pitchFamily="34" charset="0"/>
              </a:rPr>
              <a:t>Azure Machine Learning</a:t>
            </a:r>
          </a:p>
        </p:txBody>
      </p:sp>
      <p:sp>
        <p:nvSpPr>
          <p:cNvPr id="65" name="Freeform 2">
            <a:extLst>
              <a:ext uri="{FF2B5EF4-FFF2-40B4-BE49-F238E27FC236}">
                <a16:creationId xmlns:a16="http://schemas.microsoft.com/office/drawing/2014/main" id="{A2220A36-B33C-48AC-A0B5-0C4A3F2E7509}"/>
              </a:ext>
            </a:extLst>
          </p:cNvPr>
          <p:cNvSpPr>
            <a:spLocks noChangeArrowheads="1"/>
          </p:cNvSpPr>
          <p:nvPr/>
        </p:nvSpPr>
        <p:spPr bwMode="auto">
          <a:xfrm>
            <a:off x="1477449" y="4925598"/>
            <a:ext cx="2981969" cy="515799"/>
          </a:xfrm>
          <a:prstGeom prst="rect">
            <a:avLst/>
          </a:prstGeom>
          <a:solidFill>
            <a:schemeClr val="accent1">
              <a:lumMod val="75000"/>
            </a:schemeClr>
          </a:solidFill>
          <a:ln w="12700" cap="flat">
            <a:no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E6E6E6"/>
                </a:solidFill>
                <a:effectLst/>
                <a:uLnTx/>
                <a:uFillTx/>
                <a:latin typeface="Segoe UI"/>
                <a:ea typeface="+mn-ea"/>
                <a:cs typeface="Arial" charset="0"/>
              </a:rPr>
              <a:t>Data Platform</a:t>
            </a:r>
          </a:p>
        </p:txBody>
      </p:sp>
      <p:sp>
        <p:nvSpPr>
          <p:cNvPr id="66" name="Freeform 2">
            <a:extLst>
              <a:ext uri="{FF2B5EF4-FFF2-40B4-BE49-F238E27FC236}">
                <a16:creationId xmlns:a16="http://schemas.microsoft.com/office/drawing/2014/main" id="{8CF78CAE-BA72-415A-888A-E162F71BA56A}"/>
              </a:ext>
            </a:extLst>
          </p:cNvPr>
          <p:cNvSpPr>
            <a:spLocks noChangeArrowheads="1"/>
          </p:cNvSpPr>
          <p:nvPr/>
        </p:nvSpPr>
        <p:spPr bwMode="auto">
          <a:xfrm>
            <a:off x="4633505" y="4935134"/>
            <a:ext cx="2996273" cy="501110"/>
          </a:xfrm>
          <a:prstGeom prst="rect">
            <a:avLst/>
          </a:prstGeom>
          <a:solidFill>
            <a:schemeClr val="accent1">
              <a:lumMod val="75000"/>
            </a:schemeClr>
          </a:solidFill>
          <a:ln w="12700" cap="flat">
            <a:no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E6E6E6"/>
                </a:solidFill>
                <a:effectLst/>
                <a:uLnTx/>
                <a:uFillTx/>
                <a:latin typeface="Segoe UI"/>
                <a:ea typeface="+mn-ea"/>
                <a:cs typeface="Arial" charset="0"/>
              </a:rPr>
              <a:t>App Dev Platform &amp; tools</a:t>
            </a:r>
          </a:p>
        </p:txBody>
      </p:sp>
      <p:sp>
        <p:nvSpPr>
          <p:cNvPr id="67" name="Freeform 2">
            <a:extLst>
              <a:ext uri="{FF2B5EF4-FFF2-40B4-BE49-F238E27FC236}">
                <a16:creationId xmlns:a16="http://schemas.microsoft.com/office/drawing/2014/main" id="{846D6494-7826-4DDA-98EB-D5299982837C}"/>
              </a:ext>
            </a:extLst>
          </p:cNvPr>
          <p:cNvSpPr>
            <a:spLocks noChangeArrowheads="1"/>
          </p:cNvSpPr>
          <p:nvPr/>
        </p:nvSpPr>
        <p:spPr bwMode="auto">
          <a:xfrm>
            <a:off x="7802359" y="4925021"/>
            <a:ext cx="2981969" cy="515799"/>
          </a:xfrm>
          <a:prstGeom prst="rect">
            <a:avLst/>
          </a:prstGeom>
          <a:solidFill>
            <a:schemeClr val="accent1">
              <a:lumMod val="75000"/>
            </a:schemeClr>
          </a:solidFill>
          <a:ln w="12700" cap="flat">
            <a:no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E6E6E6"/>
                </a:solidFill>
                <a:effectLst/>
                <a:uLnTx/>
                <a:uFillTx/>
                <a:latin typeface="Segoe UI"/>
                <a:ea typeface="+mn-ea"/>
                <a:cs typeface="Arial" charset="0"/>
              </a:rPr>
              <a:t>Compute</a:t>
            </a:r>
          </a:p>
        </p:txBody>
      </p:sp>
      <p:sp>
        <p:nvSpPr>
          <p:cNvPr id="84" name="TextBox 83">
            <a:extLst>
              <a:ext uri="{FF2B5EF4-FFF2-40B4-BE49-F238E27FC236}">
                <a16:creationId xmlns:a16="http://schemas.microsoft.com/office/drawing/2014/main" id="{1C4630BB-C1BF-49DA-AAB1-B27FABF0D3B7}"/>
              </a:ext>
            </a:extLst>
          </p:cNvPr>
          <p:cNvSpPr txBox="1"/>
          <p:nvPr/>
        </p:nvSpPr>
        <p:spPr>
          <a:xfrm>
            <a:off x="7266507" y="2236299"/>
            <a:ext cx="1064394"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50E6FF"/>
                </a:solidFill>
                <a:effectLst/>
                <a:uLnTx/>
                <a:uFillTx/>
                <a:latin typeface="Segoe UI Semibold" panose="020B0702040204020203" pitchFamily="34" charset="0"/>
                <a:ea typeface="+mn-ea"/>
                <a:cs typeface="Segoe UI Semibold" panose="020B0702040204020203" pitchFamily="34" charset="0"/>
              </a:rPr>
              <a:t>Cognitive Search</a:t>
            </a:r>
          </a:p>
        </p:txBody>
      </p:sp>
      <p:sp>
        <p:nvSpPr>
          <p:cNvPr id="86" name="TextBox 85">
            <a:extLst>
              <a:ext uri="{FF2B5EF4-FFF2-40B4-BE49-F238E27FC236}">
                <a16:creationId xmlns:a16="http://schemas.microsoft.com/office/drawing/2014/main" id="{B8FB4B7A-2949-433A-BF5B-84D8B5E533E3}"/>
              </a:ext>
            </a:extLst>
          </p:cNvPr>
          <p:cNvSpPr txBox="1"/>
          <p:nvPr/>
        </p:nvSpPr>
        <p:spPr>
          <a:xfrm>
            <a:off x="6478537" y="2236299"/>
            <a:ext cx="681277"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50E6FF"/>
                </a:solidFill>
                <a:effectLst/>
                <a:uLnTx/>
                <a:uFillTx/>
                <a:latin typeface="Segoe UI Semibold" panose="020B0702040204020203" pitchFamily="34" charset="0"/>
                <a:ea typeface="+mn-ea"/>
                <a:cs typeface="Segoe UI Semibold" panose="020B0702040204020203" pitchFamily="34" charset="0"/>
              </a:rPr>
              <a:t>Bot Service</a:t>
            </a:r>
          </a:p>
        </p:txBody>
      </p:sp>
      <p:grpSp>
        <p:nvGrpSpPr>
          <p:cNvPr id="87" name="Group 86">
            <a:extLst>
              <a:ext uri="{FF2B5EF4-FFF2-40B4-BE49-F238E27FC236}">
                <a16:creationId xmlns:a16="http://schemas.microsoft.com/office/drawing/2014/main" id="{9149523C-A41D-4C2F-9C90-56B9E82B3625}"/>
              </a:ext>
            </a:extLst>
          </p:cNvPr>
          <p:cNvGrpSpPr/>
          <p:nvPr/>
        </p:nvGrpSpPr>
        <p:grpSpPr>
          <a:xfrm>
            <a:off x="6607085" y="1813472"/>
            <a:ext cx="424181" cy="302132"/>
            <a:chOff x="7391119" y="2701952"/>
            <a:chExt cx="2660766" cy="1675683"/>
          </a:xfrm>
        </p:grpSpPr>
        <p:grpSp>
          <p:nvGrpSpPr>
            <p:cNvPr id="88" name="Group 87">
              <a:extLst>
                <a:ext uri="{FF2B5EF4-FFF2-40B4-BE49-F238E27FC236}">
                  <a16:creationId xmlns:a16="http://schemas.microsoft.com/office/drawing/2014/main" id="{8DCB3646-95CD-46E1-A17E-76CED86F2133}"/>
                </a:ext>
              </a:extLst>
            </p:cNvPr>
            <p:cNvGrpSpPr/>
            <p:nvPr/>
          </p:nvGrpSpPr>
          <p:grpSpPr>
            <a:xfrm>
              <a:off x="7391119" y="2701952"/>
              <a:ext cx="1834269" cy="1292398"/>
              <a:chOff x="5006269" y="2676828"/>
              <a:chExt cx="1520124" cy="1071056"/>
            </a:xfrm>
          </p:grpSpPr>
          <p:sp>
            <p:nvSpPr>
              <p:cNvPr id="99" name="Freeform: Shape 98">
                <a:extLst>
                  <a:ext uri="{FF2B5EF4-FFF2-40B4-BE49-F238E27FC236}">
                    <a16:creationId xmlns:a16="http://schemas.microsoft.com/office/drawing/2014/main" id="{557107F3-684E-49DB-A78C-9C24C439C499}"/>
                  </a:ext>
                </a:extLst>
              </p:cNvPr>
              <p:cNvSpPr/>
              <p:nvPr/>
            </p:nvSpPr>
            <p:spPr bwMode="auto">
              <a:xfrm>
                <a:off x="5006269" y="2676828"/>
                <a:ext cx="1520124" cy="1071056"/>
              </a:xfrm>
              <a:custGeom>
                <a:avLst/>
                <a:gdLst>
                  <a:gd name="connsiteX0" fmla="*/ 237748 w 1520124"/>
                  <a:gd name="connsiteY0" fmla="*/ 0 h 1218430"/>
                  <a:gd name="connsiteX1" fmla="*/ 1395905 w 1520124"/>
                  <a:gd name="connsiteY1" fmla="*/ 0 h 1218430"/>
                  <a:gd name="connsiteX2" fmla="*/ 1520124 w 1520124"/>
                  <a:gd name="connsiteY2" fmla="*/ 124219 h 1218430"/>
                  <a:gd name="connsiteX3" fmla="*/ 1520124 w 1520124"/>
                  <a:gd name="connsiteY3" fmla="*/ 1094211 h 1218430"/>
                  <a:gd name="connsiteX4" fmla="*/ 1395905 w 1520124"/>
                  <a:gd name="connsiteY4" fmla="*/ 1218430 h 1218430"/>
                  <a:gd name="connsiteX5" fmla="*/ 237748 w 1520124"/>
                  <a:gd name="connsiteY5" fmla="*/ 1218430 h 1218430"/>
                  <a:gd name="connsiteX6" fmla="*/ 113529 w 1520124"/>
                  <a:gd name="connsiteY6" fmla="*/ 1094211 h 1218430"/>
                  <a:gd name="connsiteX7" fmla="*/ 113529 w 1520124"/>
                  <a:gd name="connsiteY7" fmla="*/ 518693 h 1218430"/>
                  <a:gd name="connsiteX8" fmla="*/ 0 w 1520124"/>
                  <a:gd name="connsiteY8" fmla="*/ 413025 h 1218430"/>
                  <a:gd name="connsiteX9" fmla="*/ 113529 w 1520124"/>
                  <a:gd name="connsiteY9" fmla="*/ 307357 h 1218430"/>
                  <a:gd name="connsiteX10" fmla="*/ 113529 w 1520124"/>
                  <a:gd name="connsiteY10" fmla="*/ 124219 h 1218430"/>
                  <a:gd name="connsiteX11" fmla="*/ 237748 w 1520124"/>
                  <a:gd name="connsiteY11" fmla="*/ 0 h 1218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0124" h="1218430">
                    <a:moveTo>
                      <a:pt x="237748" y="0"/>
                    </a:moveTo>
                    <a:lnTo>
                      <a:pt x="1395905" y="0"/>
                    </a:lnTo>
                    <a:cubicBezTo>
                      <a:pt x="1464509" y="0"/>
                      <a:pt x="1520124" y="55615"/>
                      <a:pt x="1520124" y="124219"/>
                    </a:cubicBezTo>
                    <a:lnTo>
                      <a:pt x="1520124" y="1094211"/>
                    </a:lnTo>
                    <a:cubicBezTo>
                      <a:pt x="1520124" y="1162815"/>
                      <a:pt x="1464509" y="1218430"/>
                      <a:pt x="1395905" y="1218430"/>
                    </a:cubicBezTo>
                    <a:lnTo>
                      <a:pt x="237748" y="1218430"/>
                    </a:lnTo>
                    <a:cubicBezTo>
                      <a:pt x="169144" y="1218430"/>
                      <a:pt x="113529" y="1162815"/>
                      <a:pt x="113529" y="1094211"/>
                    </a:cubicBezTo>
                    <a:lnTo>
                      <a:pt x="113529" y="518693"/>
                    </a:lnTo>
                    <a:lnTo>
                      <a:pt x="0" y="413025"/>
                    </a:lnTo>
                    <a:lnTo>
                      <a:pt x="113529" y="307357"/>
                    </a:lnTo>
                    <a:lnTo>
                      <a:pt x="113529" y="124219"/>
                    </a:lnTo>
                    <a:cubicBezTo>
                      <a:pt x="113529" y="55615"/>
                      <a:pt x="169144" y="0"/>
                      <a:pt x="237748"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nvGrpSpPr>
              <p:cNvPr id="100" name="Group 99">
                <a:extLst>
                  <a:ext uri="{FF2B5EF4-FFF2-40B4-BE49-F238E27FC236}">
                    <a16:creationId xmlns:a16="http://schemas.microsoft.com/office/drawing/2014/main" id="{4D02AEA1-2382-4DD1-BC65-35E588B74B50}"/>
                  </a:ext>
                </a:extLst>
              </p:cNvPr>
              <p:cNvGrpSpPr/>
              <p:nvPr/>
            </p:nvGrpSpPr>
            <p:grpSpPr>
              <a:xfrm>
                <a:off x="5264714" y="2833357"/>
                <a:ext cx="1009126" cy="418064"/>
                <a:chOff x="5264714" y="2833357"/>
                <a:chExt cx="1009126" cy="418064"/>
              </a:xfrm>
            </p:grpSpPr>
            <p:sp>
              <p:nvSpPr>
                <p:cNvPr id="101" name="Rectangle 100">
                  <a:extLst>
                    <a:ext uri="{FF2B5EF4-FFF2-40B4-BE49-F238E27FC236}">
                      <a16:creationId xmlns:a16="http://schemas.microsoft.com/office/drawing/2014/main" id="{E12E8718-36B6-47EC-9918-655E1893E678}"/>
                    </a:ext>
                  </a:extLst>
                </p:cNvPr>
                <p:cNvSpPr/>
                <p:nvPr/>
              </p:nvSpPr>
              <p:spPr bwMode="auto">
                <a:xfrm>
                  <a:off x="5264714" y="2833357"/>
                  <a:ext cx="750054" cy="7376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02" name="Rectangle 101">
                  <a:extLst>
                    <a:ext uri="{FF2B5EF4-FFF2-40B4-BE49-F238E27FC236}">
                      <a16:creationId xmlns:a16="http://schemas.microsoft.com/office/drawing/2014/main" id="{3A73E5F0-EC81-46FC-B789-9F1A7B3A98B3}"/>
                    </a:ext>
                  </a:extLst>
                </p:cNvPr>
                <p:cNvSpPr/>
                <p:nvPr/>
              </p:nvSpPr>
              <p:spPr bwMode="auto">
                <a:xfrm>
                  <a:off x="5264714" y="3005659"/>
                  <a:ext cx="1009126" cy="7376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03" name="Rectangle 102">
                  <a:extLst>
                    <a:ext uri="{FF2B5EF4-FFF2-40B4-BE49-F238E27FC236}">
                      <a16:creationId xmlns:a16="http://schemas.microsoft.com/office/drawing/2014/main" id="{49B00287-22DD-4930-9DE8-0967AA0F7E3D}"/>
                    </a:ext>
                  </a:extLst>
                </p:cNvPr>
                <p:cNvSpPr/>
                <p:nvPr/>
              </p:nvSpPr>
              <p:spPr bwMode="auto">
                <a:xfrm>
                  <a:off x="5264714" y="3177657"/>
                  <a:ext cx="1009126" cy="7376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grpSp>
        <p:grpSp>
          <p:nvGrpSpPr>
            <p:cNvPr id="89" name="Group 88">
              <a:extLst>
                <a:ext uri="{FF2B5EF4-FFF2-40B4-BE49-F238E27FC236}">
                  <a16:creationId xmlns:a16="http://schemas.microsoft.com/office/drawing/2014/main" id="{05F01617-02B8-457C-A518-8649EF767E96}"/>
                </a:ext>
              </a:extLst>
            </p:cNvPr>
            <p:cNvGrpSpPr/>
            <p:nvPr/>
          </p:nvGrpSpPr>
          <p:grpSpPr>
            <a:xfrm>
              <a:off x="8234753" y="3249748"/>
              <a:ext cx="1817132" cy="1127887"/>
              <a:chOff x="5514410" y="3159115"/>
              <a:chExt cx="1505922" cy="934720"/>
            </a:xfrm>
          </p:grpSpPr>
          <p:sp>
            <p:nvSpPr>
              <p:cNvPr id="90" name="Freeform: Shape 89">
                <a:extLst>
                  <a:ext uri="{FF2B5EF4-FFF2-40B4-BE49-F238E27FC236}">
                    <a16:creationId xmlns:a16="http://schemas.microsoft.com/office/drawing/2014/main" id="{2F19B63E-D47E-4D06-947E-22BC0EF8477A}"/>
                  </a:ext>
                </a:extLst>
              </p:cNvPr>
              <p:cNvSpPr/>
              <p:nvPr/>
            </p:nvSpPr>
            <p:spPr bwMode="auto">
              <a:xfrm rot="5400000">
                <a:off x="5800011" y="2873514"/>
                <a:ext cx="934720" cy="1505922"/>
              </a:xfrm>
              <a:custGeom>
                <a:avLst/>
                <a:gdLst>
                  <a:gd name="connsiteX0" fmla="*/ 0 w 934720"/>
                  <a:gd name="connsiteY0" fmla="*/ 1393578 h 1505922"/>
                  <a:gd name="connsiteX1" fmla="*/ 0 w 934720"/>
                  <a:gd name="connsiteY1" fmla="*/ 211671 h 1505922"/>
                  <a:gd name="connsiteX2" fmla="*/ 112344 w 934720"/>
                  <a:gd name="connsiteY2" fmla="*/ 99327 h 1505922"/>
                  <a:gd name="connsiteX3" fmla="*/ 468487 w 934720"/>
                  <a:gd name="connsiteY3" fmla="*/ 99327 h 1505922"/>
                  <a:gd name="connsiteX4" fmla="*/ 585592 w 934720"/>
                  <a:gd name="connsiteY4" fmla="*/ 0 h 1505922"/>
                  <a:gd name="connsiteX5" fmla="*/ 702696 w 934720"/>
                  <a:gd name="connsiteY5" fmla="*/ 99327 h 1505922"/>
                  <a:gd name="connsiteX6" fmla="*/ 822376 w 934720"/>
                  <a:gd name="connsiteY6" fmla="*/ 99327 h 1505922"/>
                  <a:gd name="connsiteX7" fmla="*/ 934720 w 934720"/>
                  <a:gd name="connsiteY7" fmla="*/ 211671 h 1505922"/>
                  <a:gd name="connsiteX8" fmla="*/ 934720 w 934720"/>
                  <a:gd name="connsiteY8" fmla="*/ 1393578 h 1505922"/>
                  <a:gd name="connsiteX9" fmla="*/ 822376 w 934720"/>
                  <a:gd name="connsiteY9" fmla="*/ 1505922 h 1505922"/>
                  <a:gd name="connsiteX10" fmla="*/ 112344 w 934720"/>
                  <a:gd name="connsiteY10" fmla="*/ 1505922 h 1505922"/>
                  <a:gd name="connsiteX11" fmla="*/ 0 w 934720"/>
                  <a:gd name="connsiteY11" fmla="*/ 1393578 h 1505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4720" h="1505922">
                    <a:moveTo>
                      <a:pt x="0" y="1393578"/>
                    </a:moveTo>
                    <a:lnTo>
                      <a:pt x="0" y="211671"/>
                    </a:lnTo>
                    <a:cubicBezTo>
                      <a:pt x="0" y="149625"/>
                      <a:pt x="50298" y="99327"/>
                      <a:pt x="112344" y="99327"/>
                    </a:cubicBezTo>
                    <a:lnTo>
                      <a:pt x="468487" y="99327"/>
                    </a:lnTo>
                    <a:lnTo>
                      <a:pt x="585592" y="0"/>
                    </a:lnTo>
                    <a:lnTo>
                      <a:pt x="702696" y="99327"/>
                    </a:lnTo>
                    <a:lnTo>
                      <a:pt x="822376" y="99327"/>
                    </a:lnTo>
                    <a:cubicBezTo>
                      <a:pt x="884422" y="99327"/>
                      <a:pt x="934720" y="149625"/>
                      <a:pt x="934720" y="211671"/>
                    </a:cubicBezTo>
                    <a:lnTo>
                      <a:pt x="934720" y="1393578"/>
                    </a:lnTo>
                    <a:cubicBezTo>
                      <a:pt x="934720" y="1455624"/>
                      <a:pt x="884422" y="1505922"/>
                      <a:pt x="822376" y="1505922"/>
                    </a:cubicBezTo>
                    <a:lnTo>
                      <a:pt x="112344" y="1505922"/>
                    </a:lnTo>
                    <a:cubicBezTo>
                      <a:pt x="50298" y="1505922"/>
                      <a:pt x="0" y="1455624"/>
                      <a:pt x="0" y="1393578"/>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91" name="Rectangle 90">
                <a:extLst>
                  <a:ext uri="{FF2B5EF4-FFF2-40B4-BE49-F238E27FC236}">
                    <a16:creationId xmlns:a16="http://schemas.microsoft.com/office/drawing/2014/main" id="{9FE10BAB-1432-415C-9A16-622D4AA3FBB3}"/>
                  </a:ext>
                </a:extLst>
              </p:cNvPr>
              <p:cNvSpPr/>
              <p:nvPr/>
            </p:nvSpPr>
            <p:spPr bwMode="auto">
              <a:xfrm>
                <a:off x="6415531" y="3521464"/>
                <a:ext cx="329313" cy="7376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92" name="Rectangle 91">
                <a:extLst>
                  <a:ext uri="{FF2B5EF4-FFF2-40B4-BE49-F238E27FC236}">
                    <a16:creationId xmlns:a16="http://schemas.microsoft.com/office/drawing/2014/main" id="{123F764F-CE0B-4AD7-9F8B-AB5BFB18E14D}"/>
                  </a:ext>
                </a:extLst>
              </p:cNvPr>
              <p:cNvSpPr/>
              <p:nvPr/>
            </p:nvSpPr>
            <p:spPr bwMode="auto">
              <a:xfrm>
                <a:off x="6297751" y="3702429"/>
                <a:ext cx="447093" cy="7376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93" name="Rectangle 92">
                <a:extLst>
                  <a:ext uri="{FF2B5EF4-FFF2-40B4-BE49-F238E27FC236}">
                    <a16:creationId xmlns:a16="http://schemas.microsoft.com/office/drawing/2014/main" id="{3F7D9C3A-AA67-4AFA-A1E7-201FFA187217}"/>
                  </a:ext>
                </a:extLst>
              </p:cNvPr>
              <p:cNvSpPr/>
              <p:nvPr/>
            </p:nvSpPr>
            <p:spPr bwMode="auto">
              <a:xfrm>
                <a:off x="6534685" y="3883394"/>
                <a:ext cx="210159" cy="7376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nvGrpSpPr>
              <p:cNvPr id="94" name="Group 93">
                <a:extLst>
                  <a:ext uri="{FF2B5EF4-FFF2-40B4-BE49-F238E27FC236}">
                    <a16:creationId xmlns:a16="http://schemas.microsoft.com/office/drawing/2014/main" id="{15F71501-80EF-4C87-8461-C3564817041E}"/>
                  </a:ext>
                </a:extLst>
              </p:cNvPr>
              <p:cNvGrpSpPr/>
              <p:nvPr/>
            </p:nvGrpSpPr>
            <p:grpSpPr>
              <a:xfrm>
                <a:off x="5659060" y="3322677"/>
                <a:ext cx="530380" cy="542860"/>
                <a:chOff x="5659060" y="3322677"/>
                <a:chExt cx="530380" cy="542860"/>
              </a:xfrm>
              <a:solidFill>
                <a:sysClr val="windowText" lastClr="000000"/>
              </a:solidFill>
            </p:grpSpPr>
            <p:sp>
              <p:nvSpPr>
                <p:cNvPr id="95" name="Freeform: Shape 94">
                  <a:extLst>
                    <a:ext uri="{FF2B5EF4-FFF2-40B4-BE49-F238E27FC236}">
                      <a16:creationId xmlns:a16="http://schemas.microsoft.com/office/drawing/2014/main" id="{6A5D5EEE-0586-4804-9A4D-15EAF971E867}"/>
                    </a:ext>
                  </a:extLst>
                </p:cNvPr>
                <p:cNvSpPr/>
                <p:nvPr/>
              </p:nvSpPr>
              <p:spPr bwMode="auto">
                <a:xfrm>
                  <a:off x="5659060" y="3485786"/>
                  <a:ext cx="379191" cy="379751"/>
                </a:xfrm>
                <a:custGeom>
                  <a:avLst/>
                  <a:gdLst>
                    <a:gd name="connsiteX0" fmla="*/ 0 w 379191"/>
                    <a:gd name="connsiteY0" fmla="*/ 0 h 379751"/>
                    <a:gd name="connsiteX1" fmla="*/ 69037 w 379191"/>
                    <a:gd name="connsiteY1" fmla="*/ 0 h 379751"/>
                    <a:gd name="connsiteX2" fmla="*/ 69037 w 379191"/>
                    <a:gd name="connsiteY2" fmla="*/ 310714 h 379751"/>
                    <a:gd name="connsiteX3" fmla="*/ 379191 w 379191"/>
                    <a:gd name="connsiteY3" fmla="*/ 310714 h 379751"/>
                    <a:gd name="connsiteX4" fmla="*/ 379191 w 379191"/>
                    <a:gd name="connsiteY4" fmla="*/ 379751 h 379751"/>
                    <a:gd name="connsiteX5" fmla="*/ 69037 w 379191"/>
                    <a:gd name="connsiteY5" fmla="*/ 379751 h 379751"/>
                    <a:gd name="connsiteX6" fmla="*/ 69037 w 379191"/>
                    <a:gd name="connsiteY6" fmla="*/ 379751 h 379751"/>
                    <a:gd name="connsiteX7" fmla="*/ 0 w 379191"/>
                    <a:gd name="connsiteY7" fmla="*/ 379751 h 379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191" h="379751">
                      <a:moveTo>
                        <a:pt x="0" y="0"/>
                      </a:moveTo>
                      <a:lnTo>
                        <a:pt x="69037" y="0"/>
                      </a:lnTo>
                      <a:lnTo>
                        <a:pt x="69037" y="310714"/>
                      </a:lnTo>
                      <a:lnTo>
                        <a:pt x="379191" y="310714"/>
                      </a:lnTo>
                      <a:lnTo>
                        <a:pt x="379191" y="379751"/>
                      </a:lnTo>
                      <a:lnTo>
                        <a:pt x="69037" y="379751"/>
                      </a:lnTo>
                      <a:lnTo>
                        <a:pt x="69037" y="379751"/>
                      </a:lnTo>
                      <a:lnTo>
                        <a:pt x="0" y="379751"/>
                      </a:lnTo>
                      <a:close/>
                    </a:path>
                  </a:pathLst>
                </a:cu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96" name="Freeform: Shape 95">
                  <a:extLst>
                    <a:ext uri="{FF2B5EF4-FFF2-40B4-BE49-F238E27FC236}">
                      <a16:creationId xmlns:a16="http://schemas.microsoft.com/office/drawing/2014/main" id="{115C8332-393F-465A-B901-C73A3BE8DFC4}"/>
                    </a:ext>
                  </a:extLst>
                </p:cNvPr>
                <p:cNvSpPr/>
                <p:nvPr/>
              </p:nvSpPr>
              <p:spPr bwMode="auto">
                <a:xfrm>
                  <a:off x="5810249" y="3322677"/>
                  <a:ext cx="379191" cy="393264"/>
                </a:xfrm>
                <a:custGeom>
                  <a:avLst/>
                  <a:gdLst>
                    <a:gd name="connsiteX0" fmla="*/ 310154 w 379191"/>
                    <a:gd name="connsiteY0" fmla="*/ 0 h 393264"/>
                    <a:gd name="connsiteX1" fmla="*/ 379191 w 379191"/>
                    <a:gd name="connsiteY1" fmla="*/ 0 h 393264"/>
                    <a:gd name="connsiteX2" fmla="*/ 379191 w 379191"/>
                    <a:gd name="connsiteY2" fmla="*/ 393264 h 393264"/>
                    <a:gd name="connsiteX3" fmla="*/ 310154 w 379191"/>
                    <a:gd name="connsiteY3" fmla="*/ 393264 h 393264"/>
                    <a:gd name="connsiteX4" fmla="*/ 310154 w 379191"/>
                    <a:gd name="connsiteY4" fmla="*/ 69039 h 393264"/>
                    <a:gd name="connsiteX5" fmla="*/ 0 w 379191"/>
                    <a:gd name="connsiteY5" fmla="*/ 69039 h 393264"/>
                    <a:gd name="connsiteX6" fmla="*/ 0 w 379191"/>
                    <a:gd name="connsiteY6" fmla="*/ 2 h 393264"/>
                    <a:gd name="connsiteX7" fmla="*/ 310154 w 379191"/>
                    <a:gd name="connsiteY7" fmla="*/ 2 h 39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191" h="393264">
                      <a:moveTo>
                        <a:pt x="310154" y="0"/>
                      </a:moveTo>
                      <a:lnTo>
                        <a:pt x="379191" y="0"/>
                      </a:lnTo>
                      <a:lnTo>
                        <a:pt x="379191" y="393264"/>
                      </a:lnTo>
                      <a:lnTo>
                        <a:pt x="310154" y="393264"/>
                      </a:lnTo>
                      <a:lnTo>
                        <a:pt x="310154" y="69039"/>
                      </a:lnTo>
                      <a:lnTo>
                        <a:pt x="0" y="69039"/>
                      </a:lnTo>
                      <a:lnTo>
                        <a:pt x="0" y="2"/>
                      </a:lnTo>
                      <a:lnTo>
                        <a:pt x="310154" y="2"/>
                      </a:lnTo>
                      <a:close/>
                    </a:path>
                  </a:pathLst>
                </a:cu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97" name="Oval 96">
                  <a:extLst>
                    <a:ext uri="{FF2B5EF4-FFF2-40B4-BE49-F238E27FC236}">
                      <a16:creationId xmlns:a16="http://schemas.microsoft.com/office/drawing/2014/main" id="{1032CE49-7C0E-474E-94FC-994AA2C87D6E}"/>
                    </a:ext>
                  </a:extLst>
                </p:cNvPr>
                <p:cNvSpPr/>
                <p:nvPr/>
              </p:nvSpPr>
              <p:spPr bwMode="auto">
                <a:xfrm>
                  <a:off x="5793380" y="3543753"/>
                  <a:ext cx="100932" cy="100932"/>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98" name="Oval 97">
                  <a:extLst>
                    <a:ext uri="{FF2B5EF4-FFF2-40B4-BE49-F238E27FC236}">
                      <a16:creationId xmlns:a16="http://schemas.microsoft.com/office/drawing/2014/main" id="{5F8145ED-587D-4840-A8E7-F92EEF414B3E}"/>
                    </a:ext>
                  </a:extLst>
                </p:cNvPr>
                <p:cNvSpPr/>
                <p:nvPr/>
              </p:nvSpPr>
              <p:spPr bwMode="auto">
                <a:xfrm>
                  <a:off x="5954188" y="3543753"/>
                  <a:ext cx="100932" cy="100932"/>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grpSp>
      </p:grpSp>
      <p:sp>
        <p:nvSpPr>
          <p:cNvPr id="115" name="TextBox 114">
            <a:extLst>
              <a:ext uri="{FF2B5EF4-FFF2-40B4-BE49-F238E27FC236}">
                <a16:creationId xmlns:a16="http://schemas.microsoft.com/office/drawing/2014/main" id="{2BF5EE08-B96C-4B56-906D-CD33771CAAE5}"/>
              </a:ext>
            </a:extLst>
          </p:cNvPr>
          <p:cNvSpPr txBox="1"/>
          <p:nvPr/>
        </p:nvSpPr>
        <p:spPr>
          <a:xfrm>
            <a:off x="8437594" y="2236299"/>
            <a:ext cx="1030731"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50E6FF"/>
                </a:solidFill>
                <a:effectLst/>
                <a:uLnTx/>
                <a:uFillTx/>
                <a:latin typeface="Segoe UI Semibold" panose="020B0702040204020203" pitchFamily="34" charset="0"/>
                <a:ea typeface="+mn-ea"/>
                <a:cs typeface="Segoe UI Semibold" panose="020B0702040204020203" pitchFamily="34" charset="0"/>
              </a:rPr>
              <a:t>Form Recognizer</a:t>
            </a:r>
          </a:p>
        </p:txBody>
      </p:sp>
      <p:sp>
        <p:nvSpPr>
          <p:cNvPr id="63" name="TextBox 62">
            <a:extLst>
              <a:ext uri="{FF2B5EF4-FFF2-40B4-BE49-F238E27FC236}">
                <a16:creationId xmlns:a16="http://schemas.microsoft.com/office/drawing/2014/main" id="{34362A85-583E-429F-AFB5-695F064B563D}"/>
              </a:ext>
            </a:extLst>
          </p:cNvPr>
          <p:cNvSpPr txBox="1"/>
          <p:nvPr/>
        </p:nvSpPr>
        <p:spPr>
          <a:xfrm>
            <a:off x="9575017" y="2236299"/>
            <a:ext cx="852798"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50E6FF"/>
                </a:solidFill>
                <a:effectLst/>
                <a:uLnTx/>
                <a:uFillTx/>
                <a:latin typeface="Segoe UI Semibold" panose="020B0702040204020203" pitchFamily="34" charset="0"/>
                <a:ea typeface="+mn-ea"/>
                <a:cs typeface="Segoe UI Semibold" panose="020B0702040204020203" pitchFamily="34" charset="0"/>
              </a:rPr>
              <a:t>Video Indexer</a:t>
            </a:r>
          </a:p>
        </p:txBody>
      </p:sp>
      <p:grpSp>
        <p:nvGrpSpPr>
          <p:cNvPr id="116" name="Group 115">
            <a:extLst>
              <a:ext uri="{FF2B5EF4-FFF2-40B4-BE49-F238E27FC236}">
                <a16:creationId xmlns:a16="http://schemas.microsoft.com/office/drawing/2014/main" id="{D2FC3318-FFF1-4738-ADC5-F1FA00BD7412}"/>
              </a:ext>
            </a:extLst>
          </p:cNvPr>
          <p:cNvGrpSpPr>
            <a:grpSpLocks noChangeAspect="1"/>
          </p:cNvGrpSpPr>
          <p:nvPr/>
        </p:nvGrpSpPr>
        <p:grpSpPr>
          <a:xfrm>
            <a:off x="8714878" y="1771372"/>
            <a:ext cx="476308" cy="386333"/>
            <a:chOff x="1521527" y="2235243"/>
            <a:chExt cx="742799" cy="602485"/>
          </a:xfrm>
        </p:grpSpPr>
        <p:sp>
          <p:nvSpPr>
            <p:cNvPr id="117" name="Rectangle 1">
              <a:extLst>
                <a:ext uri="{FF2B5EF4-FFF2-40B4-BE49-F238E27FC236}">
                  <a16:creationId xmlns:a16="http://schemas.microsoft.com/office/drawing/2014/main" id="{3A29E0D0-A3E8-47CD-9F4D-188E0803AAC8}"/>
                </a:ext>
              </a:extLst>
            </p:cNvPr>
            <p:cNvSpPr/>
            <p:nvPr/>
          </p:nvSpPr>
          <p:spPr>
            <a:xfrm>
              <a:off x="1521527" y="2261190"/>
              <a:ext cx="459129" cy="576538"/>
            </a:xfrm>
            <a:custGeom>
              <a:avLst/>
              <a:gdLst>
                <a:gd name="connsiteX0" fmla="*/ 0 w 4572000"/>
                <a:gd name="connsiteY0" fmla="*/ 0 h 5761038"/>
                <a:gd name="connsiteX1" fmla="*/ 4572000 w 4572000"/>
                <a:gd name="connsiteY1" fmla="*/ 0 h 5761038"/>
                <a:gd name="connsiteX2" fmla="*/ 4572000 w 4572000"/>
                <a:gd name="connsiteY2" fmla="*/ 5761038 h 5761038"/>
                <a:gd name="connsiteX3" fmla="*/ 0 w 4572000"/>
                <a:gd name="connsiteY3" fmla="*/ 5761038 h 5761038"/>
                <a:gd name="connsiteX4" fmla="*/ 0 w 4572000"/>
                <a:gd name="connsiteY4" fmla="*/ 0 h 5761038"/>
                <a:gd name="connsiteX0" fmla="*/ 0 w 4572000"/>
                <a:gd name="connsiteY0" fmla="*/ 0 h 5761038"/>
                <a:gd name="connsiteX1" fmla="*/ 3213717 w 4572000"/>
                <a:gd name="connsiteY1" fmla="*/ 0 h 5761038"/>
                <a:gd name="connsiteX2" fmla="*/ 4572000 w 4572000"/>
                <a:gd name="connsiteY2" fmla="*/ 0 h 5761038"/>
                <a:gd name="connsiteX3" fmla="*/ 4572000 w 4572000"/>
                <a:gd name="connsiteY3" fmla="*/ 5761038 h 5761038"/>
                <a:gd name="connsiteX4" fmla="*/ 0 w 4572000"/>
                <a:gd name="connsiteY4" fmla="*/ 5761038 h 5761038"/>
                <a:gd name="connsiteX5" fmla="*/ 0 w 4572000"/>
                <a:gd name="connsiteY5" fmla="*/ 0 h 5761038"/>
                <a:gd name="connsiteX0" fmla="*/ 0 w 4598633"/>
                <a:gd name="connsiteY0" fmla="*/ 0 h 5761038"/>
                <a:gd name="connsiteX1" fmla="*/ 3213717 w 4598633"/>
                <a:gd name="connsiteY1" fmla="*/ 0 h 5761038"/>
                <a:gd name="connsiteX2" fmla="*/ 4572000 w 4598633"/>
                <a:gd name="connsiteY2" fmla="*/ 0 h 5761038"/>
                <a:gd name="connsiteX3" fmla="*/ 4598633 w 4598633"/>
                <a:gd name="connsiteY3" fmla="*/ 1180730 h 5761038"/>
                <a:gd name="connsiteX4" fmla="*/ 4572000 w 4598633"/>
                <a:gd name="connsiteY4" fmla="*/ 5761038 h 5761038"/>
                <a:gd name="connsiteX5" fmla="*/ 0 w 4598633"/>
                <a:gd name="connsiteY5" fmla="*/ 5761038 h 5761038"/>
                <a:gd name="connsiteX6" fmla="*/ 0 w 4598633"/>
                <a:gd name="connsiteY6" fmla="*/ 0 h 5761038"/>
                <a:gd name="connsiteX0" fmla="*/ 0 w 4598633"/>
                <a:gd name="connsiteY0" fmla="*/ 0 h 5761038"/>
                <a:gd name="connsiteX1" fmla="*/ 3213717 w 4598633"/>
                <a:gd name="connsiteY1" fmla="*/ 0 h 5761038"/>
                <a:gd name="connsiteX2" fmla="*/ 4598633 w 4598633"/>
                <a:gd name="connsiteY2" fmla="*/ 1180730 h 5761038"/>
                <a:gd name="connsiteX3" fmla="*/ 4572000 w 4598633"/>
                <a:gd name="connsiteY3" fmla="*/ 5761038 h 5761038"/>
                <a:gd name="connsiteX4" fmla="*/ 0 w 4598633"/>
                <a:gd name="connsiteY4" fmla="*/ 5761038 h 5761038"/>
                <a:gd name="connsiteX5" fmla="*/ 0 w 4598633"/>
                <a:gd name="connsiteY5" fmla="*/ 0 h 5761038"/>
                <a:gd name="connsiteX0" fmla="*/ 0 w 4598633"/>
                <a:gd name="connsiteY0" fmla="*/ 0 h 5761038"/>
                <a:gd name="connsiteX1" fmla="*/ 3294717 w 4598633"/>
                <a:gd name="connsiteY1" fmla="*/ 0 h 5761038"/>
                <a:gd name="connsiteX2" fmla="*/ 4598633 w 4598633"/>
                <a:gd name="connsiteY2" fmla="*/ 1180730 h 5761038"/>
                <a:gd name="connsiteX3" fmla="*/ 4572000 w 4598633"/>
                <a:gd name="connsiteY3" fmla="*/ 5761038 h 5761038"/>
                <a:gd name="connsiteX4" fmla="*/ 0 w 4598633"/>
                <a:gd name="connsiteY4" fmla="*/ 5761038 h 5761038"/>
                <a:gd name="connsiteX5" fmla="*/ 0 w 4598633"/>
                <a:gd name="connsiteY5" fmla="*/ 0 h 5761038"/>
                <a:gd name="connsiteX0" fmla="*/ 0 w 4600433"/>
                <a:gd name="connsiteY0" fmla="*/ 0 h 5761038"/>
                <a:gd name="connsiteX1" fmla="*/ 3294717 w 4600433"/>
                <a:gd name="connsiteY1" fmla="*/ 0 h 5761038"/>
                <a:gd name="connsiteX2" fmla="*/ 4600433 w 4600433"/>
                <a:gd name="connsiteY2" fmla="*/ 1216730 h 5761038"/>
                <a:gd name="connsiteX3" fmla="*/ 4572000 w 4600433"/>
                <a:gd name="connsiteY3" fmla="*/ 5761038 h 5761038"/>
                <a:gd name="connsiteX4" fmla="*/ 0 w 4600433"/>
                <a:gd name="connsiteY4" fmla="*/ 5761038 h 5761038"/>
                <a:gd name="connsiteX5" fmla="*/ 0 w 4600433"/>
                <a:gd name="connsiteY5" fmla="*/ 0 h 5761038"/>
                <a:gd name="connsiteX0" fmla="*/ 0 w 4604033"/>
                <a:gd name="connsiteY0" fmla="*/ 0 h 5761038"/>
                <a:gd name="connsiteX1" fmla="*/ 3294717 w 4604033"/>
                <a:gd name="connsiteY1" fmla="*/ 0 h 5761038"/>
                <a:gd name="connsiteX2" fmla="*/ 4604033 w 4604033"/>
                <a:gd name="connsiteY2" fmla="*/ 1247330 h 5761038"/>
                <a:gd name="connsiteX3" fmla="*/ 4572000 w 4604033"/>
                <a:gd name="connsiteY3" fmla="*/ 5761038 h 5761038"/>
                <a:gd name="connsiteX4" fmla="*/ 0 w 4604033"/>
                <a:gd name="connsiteY4" fmla="*/ 5761038 h 5761038"/>
                <a:gd name="connsiteX5" fmla="*/ 0 w 4604033"/>
                <a:gd name="connsiteY5" fmla="*/ 0 h 5761038"/>
                <a:gd name="connsiteX0" fmla="*/ 0 w 4602233"/>
                <a:gd name="connsiteY0" fmla="*/ 0 h 5761038"/>
                <a:gd name="connsiteX1" fmla="*/ 3294717 w 4602233"/>
                <a:gd name="connsiteY1" fmla="*/ 0 h 5761038"/>
                <a:gd name="connsiteX2" fmla="*/ 4602233 w 4602233"/>
                <a:gd name="connsiteY2" fmla="*/ 1310330 h 5761038"/>
                <a:gd name="connsiteX3" fmla="*/ 4572000 w 4602233"/>
                <a:gd name="connsiteY3" fmla="*/ 5761038 h 5761038"/>
                <a:gd name="connsiteX4" fmla="*/ 0 w 4602233"/>
                <a:gd name="connsiteY4" fmla="*/ 5761038 h 5761038"/>
                <a:gd name="connsiteX5" fmla="*/ 0 w 4602233"/>
                <a:gd name="connsiteY5" fmla="*/ 0 h 5761038"/>
                <a:gd name="connsiteX0" fmla="*/ 0 w 4602233"/>
                <a:gd name="connsiteY0" fmla="*/ 0 h 5761038"/>
                <a:gd name="connsiteX1" fmla="*/ 3294717 w 4602233"/>
                <a:gd name="connsiteY1" fmla="*/ 0 h 5761038"/>
                <a:gd name="connsiteX2" fmla="*/ 4602233 w 4602233"/>
                <a:gd name="connsiteY2" fmla="*/ 1362530 h 5761038"/>
                <a:gd name="connsiteX3" fmla="*/ 4572000 w 4602233"/>
                <a:gd name="connsiteY3" fmla="*/ 5761038 h 5761038"/>
                <a:gd name="connsiteX4" fmla="*/ 0 w 4602233"/>
                <a:gd name="connsiteY4" fmla="*/ 5761038 h 5761038"/>
                <a:gd name="connsiteX5" fmla="*/ 0 w 4602233"/>
                <a:gd name="connsiteY5" fmla="*/ 0 h 5761038"/>
                <a:gd name="connsiteX0" fmla="*/ 0 w 4587833"/>
                <a:gd name="connsiteY0" fmla="*/ 0 h 5761038"/>
                <a:gd name="connsiteX1" fmla="*/ 3294717 w 4587833"/>
                <a:gd name="connsiteY1" fmla="*/ 0 h 5761038"/>
                <a:gd name="connsiteX2" fmla="*/ 4587833 w 4587833"/>
                <a:gd name="connsiteY2" fmla="*/ 1297730 h 5761038"/>
                <a:gd name="connsiteX3" fmla="*/ 4572000 w 4587833"/>
                <a:gd name="connsiteY3" fmla="*/ 5761038 h 5761038"/>
                <a:gd name="connsiteX4" fmla="*/ 0 w 4587833"/>
                <a:gd name="connsiteY4" fmla="*/ 5761038 h 5761038"/>
                <a:gd name="connsiteX5" fmla="*/ 0 w 4587833"/>
                <a:gd name="connsiteY5" fmla="*/ 0 h 5761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87833" h="5761038">
                  <a:moveTo>
                    <a:pt x="0" y="0"/>
                  </a:moveTo>
                  <a:lnTo>
                    <a:pt x="3294717" y="0"/>
                  </a:lnTo>
                  <a:lnTo>
                    <a:pt x="4587833" y="1297730"/>
                  </a:lnTo>
                  <a:cubicBezTo>
                    <a:pt x="4582555" y="2785499"/>
                    <a:pt x="4577278" y="4273269"/>
                    <a:pt x="4572000" y="5761038"/>
                  </a:cubicBezTo>
                  <a:lnTo>
                    <a:pt x="0" y="5761038"/>
                  </a:lnTo>
                  <a:lnTo>
                    <a:pt x="0" y="0"/>
                  </a:lnTo>
                  <a:close/>
                </a:path>
              </a:pathLst>
            </a:custGeom>
            <a:solidFill>
              <a:schemeClr val="accent6"/>
            </a:solidFill>
            <a:ln w="10795" cap="flat" cmpd="sng" algn="ctr">
              <a:noFill/>
              <a:prstDash val="soli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8" name="Rectangle 117">
              <a:extLst>
                <a:ext uri="{FF2B5EF4-FFF2-40B4-BE49-F238E27FC236}">
                  <a16:creationId xmlns:a16="http://schemas.microsoft.com/office/drawing/2014/main" id="{90D8C647-6B9D-400D-9F20-8578C3523E5D}"/>
                </a:ext>
              </a:extLst>
            </p:cNvPr>
            <p:cNvSpPr/>
            <p:nvPr/>
          </p:nvSpPr>
          <p:spPr>
            <a:xfrm>
              <a:off x="1522319" y="2690099"/>
              <a:ext cx="457544" cy="1476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a:ea typeface="+mn-ea"/>
                <a:cs typeface="+mn-cs"/>
              </a:endParaRPr>
            </a:p>
          </p:txBody>
        </p:sp>
        <p:sp>
          <p:nvSpPr>
            <p:cNvPr id="119" name="Rectangle 9">
              <a:extLst>
                <a:ext uri="{FF2B5EF4-FFF2-40B4-BE49-F238E27FC236}">
                  <a16:creationId xmlns:a16="http://schemas.microsoft.com/office/drawing/2014/main" id="{A0F6A391-D544-41A0-A440-3E4D7D09987E}"/>
                </a:ext>
              </a:extLst>
            </p:cNvPr>
            <p:cNvSpPr/>
            <p:nvPr/>
          </p:nvSpPr>
          <p:spPr>
            <a:xfrm>
              <a:off x="1850959" y="2261190"/>
              <a:ext cx="128113" cy="128113"/>
            </a:xfrm>
            <a:custGeom>
              <a:avLst/>
              <a:gdLst>
                <a:gd name="connsiteX0" fmla="*/ 0 w 1280160"/>
                <a:gd name="connsiteY0" fmla="*/ 0 h 1280160"/>
                <a:gd name="connsiteX1" fmla="*/ 1280160 w 1280160"/>
                <a:gd name="connsiteY1" fmla="*/ 0 h 1280160"/>
                <a:gd name="connsiteX2" fmla="*/ 1280160 w 1280160"/>
                <a:gd name="connsiteY2" fmla="*/ 1280160 h 1280160"/>
                <a:gd name="connsiteX3" fmla="*/ 0 w 1280160"/>
                <a:gd name="connsiteY3" fmla="*/ 1280160 h 1280160"/>
                <a:gd name="connsiteX4" fmla="*/ 0 w 1280160"/>
                <a:gd name="connsiteY4" fmla="*/ 0 h 1280160"/>
                <a:gd name="connsiteX0" fmla="*/ 0 w 1280160"/>
                <a:gd name="connsiteY0" fmla="*/ 0 h 1280160"/>
                <a:gd name="connsiteX1" fmla="*/ 1280160 w 1280160"/>
                <a:gd name="connsiteY1" fmla="*/ 1280160 h 1280160"/>
                <a:gd name="connsiteX2" fmla="*/ 0 w 1280160"/>
                <a:gd name="connsiteY2" fmla="*/ 1280160 h 1280160"/>
                <a:gd name="connsiteX3" fmla="*/ 0 w 1280160"/>
                <a:gd name="connsiteY3" fmla="*/ 0 h 1280160"/>
              </a:gdLst>
              <a:ahLst/>
              <a:cxnLst>
                <a:cxn ang="0">
                  <a:pos x="connsiteX0" y="connsiteY0"/>
                </a:cxn>
                <a:cxn ang="0">
                  <a:pos x="connsiteX1" y="connsiteY1"/>
                </a:cxn>
                <a:cxn ang="0">
                  <a:pos x="connsiteX2" y="connsiteY2"/>
                </a:cxn>
                <a:cxn ang="0">
                  <a:pos x="connsiteX3" y="connsiteY3"/>
                </a:cxn>
              </a:cxnLst>
              <a:rect l="l" t="t" r="r" b="b"/>
              <a:pathLst>
                <a:path w="1280160" h="1280160">
                  <a:moveTo>
                    <a:pt x="0" y="0"/>
                  </a:moveTo>
                  <a:lnTo>
                    <a:pt x="1280160" y="1280160"/>
                  </a:lnTo>
                  <a:lnTo>
                    <a:pt x="0" y="128016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9F86EFB9-315E-4EA7-AF16-5CB07FFE5867}"/>
                </a:ext>
              </a:extLst>
            </p:cNvPr>
            <p:cNvSpPr/>
            <p:nvPr/>
          </p:nvSpPr>
          <p:spPr bwMode="auto">
            <a:xfrm>
              <a:off x="1651749" y="2724389"/>
              <a:ext cx="198686" cy="79049"/>
            </a:xfrm>
            <a:custGeom>
              <a:avLst/>
              <a:gdLst/>
              <a:ahLst/>
              <a:cxnLst/>
              <a:rect l="l" t="t" r="r" b="b"/>
              <a:pathLst>
                <a:path w="1793672" h="713621">
                  <a:moveTo>
                    <a:pt x="789389" y="130880"/>
                  </a:moveTo>
                  <a:lnTo>
                    <a:pt x="789389" y="583239"/>
                  </a:lnTo>
                  <a:lnTo>
                    <a:pt x="869012" y="583239"/>
                  </a:lnTo>
                  <a:cubicBezTo>
                    <a:pt x="938682" y="583239"/>
                    <a:pt x="993340" y="562337"/>
                    <a:pt x="1032986" y="520535"/>
                  </a:cubicBezTo>
                  <a:cubicBezTo>
                    <a:pt x="1072631" y="478733"/>
                    <a:pt x="1092454" y="421836"/>
                    <a:pt x="1092454" y="349843"/>
                  </a:cubicBezTo>
                  <a:cubicBezTo>
                    <a:pt x="1092454" y="281832"/>
                    <a:pt x="1072797" y="228335"/>
                    <a:pt x="1033483" y="189353"/>
                  </a:cubicBezTo>
                  <a:cubicBezTo>
                    <a:pt x="994169" y="150371"/>
                    <a:pt x="939014" y="130880"/>
                    <a:pt x="868017" y="130880"/>
                  </a:cubicBezTo>
                  <a:close/>
                  <a:moveTo>
                    <a:pt x="160739" y="123415"/>
                  </a:moveTo>
                  <a:lnTo>
                    <a:pt x="160739" y="345862"/>
                  </a:lnTo>
                  <a:lnTo>
                    <a:pt x="223940" y="345862"/>
                  </a:lnTo>
                  <a:cubicBezTo>
                    <a:pt x="309534" y="345862"/>
                    <a:pt x="352332" y="308373"/>
                    <a:pt x="352332" y="233395"/>
                  </a:cubicBezTo>
                  <a:cubicBezTo>
                    <a:pt x="352332" y="160075"/>
                    <a:pt x="309534" y="123415"/>
                    <a:pt x="223940" y="123415"/>
                  </a:cubicBezTo>
                  <a:close/>
                  <a:moveTo>
                    <a:pt x="1381125" y="0"/>
                  </a:moveTo>
                  <a:lnTo>
                    <a:pt x="1793672" y="0"/>
                  </a:lnTo>
                  <a:lnTo>
                    <a:pt x="1793672" y="130880"/>
                  </a:lnTo>
                  <a:lnTo>
                    <a:pt x="1541864" y="130880"/>
                  </a:lnTo>
                  <a:lnTo>
                    <a:pt x="1541864" y="306051"/>
                  </a:lnTo>
                  <a:lnTo>
                    <a:pt x="1773268" y="306051"/>
                  </a:lnTo>
                  <a:lnTo>
                    <a:pt x="1773268" y="436434"/>
                  </a:lnTo>
                  <a:lnTo>
                    <a:pt x="1541864" y="436434"/>
                  </a:lnTo>
                  <a:lnTo>
                    <a:pt x="1541864" y="713621"/>
                  </a:lnTo>
                  <a:lnTo>
                    <a:pt x="1381125" y="713621"/>
                  </a:lnTo>
                  <a:close/>
                  <a:moveTo>
                    <a:pt x="628650" y="0"/>
                  </a:moveTo>
                  <a:lnTo>
                    <a:pt x="881453" y="0"/>
                  </a:lnTo>
                  <a:cubicBezTo>
                    <a:pt x="1134920" y="0"/>
                    <a:pt x="1261653" y="115951"/>
                    <a:pt x="1261653" y="347853"/>
                  </a:cubicBezTo>
                  <a:cubicBezTo>
                    <a:pt x="1261653" y="458993"/>
                    <a:pt x="1227067" y="547740"/>
                    <a:pt x="1157894" y="614092"/>
                  </a:cubicBezTo>
                  <a:cubicBezTo>
                    <a:pt x="1088722" y="680445"/>
                    <a:pt x="996575" y="713621"/>
                    <a:pt x="881453" y="713621"/>
                  </a:cubicBezTo>
                  <a:lnTo>
                    <a:pt x="628650" y="713621"/>
                  </a:lnTo>
                  <a:close/>
                  <a:moveTo>
                    <a:pt x="0" y="0"/>
                  </a:moveTo>
                  <a:lnTo>
                    <a:pt x="251808" y="0"/>
                  </a:lnTo>
                  <a:cubicBezTo>
                    <a:pt x="431623" y="0"/>
                    <a:pt x="521531" y="75807"/>
                    <a:pt x="521531" y="227423"/>
                  </a:cubicBezTo>
                  <a:cubicBezTo>
                    <a:pt x="521531" y="299084"/>
                    <a:pt x="495736" y="357059"/>
                    <a:pt x="444147" y="401350"/>
                  </a:cubicBezTo>
                  <a:cubicBezTo>
                    <a:pt x="392558" y="445640"/>
                    <a:pt x="323634" y="467785"/>
                    <a:pt x="237376" y="467785"/>
                  </a:cubicBezTo>
                  <a:lnTo>
                    <a:pt x="160739" y="467785"/>
                  </a:lnTo>
                  <a:lnTo>
                    <a:pt x="160739" y="713621"/>
                  </a:lnTo>
                  <a:lnTo>
                    <a:pt x="0" y="713621"/>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Rectangle 120">
              <a:extLst>
                <a:ext uri="{FF2B5EF4-FFF2-40B4-BE49-F238E27FC236}">
                  <a16:creationId xmlns:a16="http://schemas.microsoft.com/office/drawing/2014/main" id="{8C40843D-BA11-4ADB-8E8E-B4992DE8CC2C}"/>
                </a:ext>
              </a:extLst>
            </p:cNvPr>
            <p:cNvSpPr/>
            <p:nvPr/>
          </p:nvSpPr>
          <p:spPr bwMode="auto">
            <a:xfrm>
              <a:off x="1553515" y="2545054"/>
              <a:ext cx="114804" cy="115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Rectangle 121">
              <a:extLst>
                <a:ext uri="{FF2B5EF4-FFF2-40B4-BE49-F238E27FC236}">
                  <a16:creationId xmlns:a16="http://schemas.microsoft.com/office/drawing/2014/main" id="{24625D8D-B1C0-49B5-9068-E24B2B3D92C9}"/>
                </a:ext>
              </a:extLst>
            </p:cNvPr>
            <p:cNvSpPr/>
            <p:nvPr/>
          </p:nvSpPr>
          <p:spPr bwMode="auto">
            <a:xfrm>
              <a:off x="1678935" y="2545054"/>
              <a:ext cx="114804" cy="115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Rectangle 122">
              <a:extLst>
                <a:ext uri="{FF2B5EF4-FFF2-40B4-BE49-F238E27FC236}">
                  <a16:creationId xmlns:a16="http://schemas.microsoft.com/office/drawing/2014/main" id="{25B90303-4265-4C4C-94B6-575BEBC5FF85}"/>
                </a:ext>
              </a:extLst>
            </p:cNvPr>
            <p:cNvSpPr/>
            <p:nvPr/>
          </p:nvSpPr>
          <p:spPr bwMode="auto">
            <a:xfrm>
              <a:off x="1815725" y="2545054"/>
              <a:ext cx="114804" cy="115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Rectangle 123">
              <a:extLst>
                <a:ext uri="{FF2B5EF4-FFF2-40B4-BE49-F238E27FC236}">
                  <a16:creationId xmlns:a16="http://schemas.microsoft.com/office/drawing/2014/main" id="{4857DD65-7879-44D8-B4D0-0726CF1A9C45}"/>
                </a:ext>
              </a:extLst>
            </p:cNvPr>
            <p:cNvSpPr/>
            <p:nvPr/>
          </p:nvSpPr>
          <p:spPr bwMode="auto">
            <a:xfrm>
              <a:off x="1553515" y="2607230"/>
              <a:ext cx="71753" cy="115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Rectangle 124">
              <a:extLst>
                <a:ext uri="{FF2B5EF4-FFF2-40B4-BE49-F238E27FC236}">
                  <a16:creationId xmlns:a16="http://schemas.microsoft.com/office/drawing/2014/main" id="{4F9C08E3-37F8-42A0-95D6-66146C9CE76F}"/>
                </a:ext>
              </a:extLst>
            </p:cNvPr>
            <p:cNvSpPr/>
            <p:nvPr/>
          </p:nvSpPr>
          <p:spPr bwMode="auto">
            <a:xfrm>
              <a:off x="1644908" y="2607230"/>
              <a:ext cx="186557" cy="115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ectangle 125">
              <a:extLst>
                <a:ext uri="{FF2B5EF4-FFF2-40B4-BE49-F238E27FC236}">
                  <a16:creationId xmlns:a16="http://schemas.microsoft.com/office/drawing/2014/main" id="{9C53765B-D51C-40A4-9BDB-1DD86510C81C}"/>
                </a:ext>
              </a:extLst>
            </p:cNvPr>
            <p:cNvSpPr/>
            <p:nvPr/>
          </p:nvSpPr>
          <p:spPr bwMode="auto">
            <a:xfrm>
              <a:off x="1844426" y="2607230"/>
              <a:ext cx="86104" cy="115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Rectangle 126">
              <a:extLst>
                <a:ext uri="{FF2B5EF4-FFF2-40B4-BE49-F238E27FC236}">
                  <a16:creationId xmlns:a16="http://schemas.microsoft.com/office/drawing/2014/main" id="{A68A1B6E-173B-4335-A8ED-43C17D2E3B1E}"/>
                </a:ext>
              </a:extLst>
            </p:cNvPr>
            <p:cNvSpPr/>
            <p:nvPr/>
          </p:nvSpPr>
          <p:spPr bwMode="auto">
            <a:xfrm>
              <a:off x="1553515" y="2484725"/>
              <a:ext cx="71753" cy="115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 name="Rectangle 127">
              <a:extLst>
                <a:ext uri="{FF2B5EF4-FFF2-40B4-BE49-F238E27FC236}">
                  <a16:creationId xmlns:a16="http://schemas.microsoft.com/office/drawing/2014/main" id="{76932BF0-7BCD-4208-BECA-5D1C2BF0DD73}"/>
                </a:ext>
              </a:extLst>
            </p:cNvPr>
            <p:cNvSpPr/>
            <p:nvPr/>
          </p:nvSpPr>
          <p:spPr bwMode="auto">
            <a:xfrm>
              <a:off x="1644908" y="2484725"/>
              <a:ext cx="186557" cy="115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Rectangle 128">
              <a:extLst>
                <a:ext uri="{FF2B5EF4-FFF2-40B4-BE49-F238E27FC236}">
                  <a16:creationId xmlns:a16="http://schemas.microsoft.com/office/drawing/2014/main" id="{07F975E0-53C8-4E0E-9522-5ACEB10BDDBC}"/>
                </a:ext>
              </a:extLst>
            </p:cNvPr>
            <p:cNvSpPr/>
            <p:nvPr/>
          </p:nvSpPr>
          <p:spPr bwMode="auto">
            <a:xfrm>
              <a:off x="1844426" y="2484725"/>
              <a:ext cx="86104" cy="115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Rectangle 129">
              <a:extLst>
                <a:ext uri="{FF2B5EF4-FFF2-40B4-BE49-F238E27FC236}">
                  <a16:creationId xmlns:a16="http://schemas.microsoft.com/office/drawing/2014/main" id="{75FC6B84-8058-47BD-971A-4A1699F4D0DA}"/>
                </a:ext>
              </a:extLst>
            </p:cNvPr>
            <p:cNvSpPr/>
            <p:nvPr/>
          </p:nvSpPr>
          <p:spPr bwMode="auto">
            <a:xfrm>
              <a:off x="1553515" y="2427251"/>
              <a:ext cx="114804" cy="115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Rectangle 130">
              <a:extLst>
                <a:ext uri="{FF2B5EF4-FFF2-40B4-BE49-F238E27FC236}">
                  <a16:creationId xmlns:a16="http://schemas.microsoft.com/office/drawing/2014/main" id="{68033CD3-44F8-4A71-8C67-F89A771079BB}"/>
                </a:ext>
              </a:extLst>
            </p:cNvPr>
            <p:cNvSpPr/>
            <p:nvPr/>
          </p:nvSpPr>
          <p:spPr bwMode="auto">
            <a:xfrm>
              <a:off x="1678935" y="2427251"/>
              <a:ext cx="114804" cy="115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Rectangle 131">
              <a:extLst>
                <a:ext uri="{FF2B5EF4-FFF2-40B4-BE49-F238E27FC236}">
                  <a16:creationId xmlns:a16="http://schemas.microsoft.com/office/drawing/2014/main" id="{EB304ECB-5C1A-477A-9DEB-804366046BD1}"/>
                </a:ext>
              </a:extLst>
            </p:cNvPr>
            <p:cNvSpPr/>
            <p:nvPr/>
          </p:nvSpPr>
          <p:spPr bwMode="auto">
            <a:xfrm>
              <a:off x="1815725" y="2427251"/>
              <a:ext cx="114804" cy="115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Rectangle 132">
              <a:extLst>
                <a:ext uri="{FF2B5EF4-FFF2-40B4-BE49-F238E27FC236}">
                  <a16:creationId xmlns:a16="http://schemas.microsoft.com/office/drawing/2014/main" id="{8EC0DAE2-821E-4F22-B677-B069FBB65A8A}"/>
                </a:ext>
              </a:extLst>
            </p:cNvPr>
            <p:cNvSpPr/>
            <p:nvPr/>
          </p:nvSpPr>
          <p:spPr bwMode="auto">
            <a:xfrm>
              <a:off x="1553515" y="2311265"/>
              <a:ext cx="114804" cy="115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Rectangle 133">
              <a:extLst>
                <a:ext uri="{FF2B5EF4-FFF2-40B4-BE49-F238E27FC236}">
                  <a16:creationId xmlns:a16="http://schemas.microsoft.com/office/drawing/2014/main" id="{595FD4A0-FFC7-4334-9028-A530AD437635}"/>
                </a:ext>
              </a:extLst>
            </p:cNvPr>
            <p:cNvSpPr/>
            <p:nvPr/>
          </p:nvSpPr>
          <p:spPr bwMode="auto">
            <a:xfrm>
              <a:off x="1553515" y="2346151"/>
              <a:ext cx="114804" cy="115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5" name="Group 134">
              <a:extLst>
                <a:ext uri="{FF2B5EF4-FFF2-40B4-BE49-F238E27FC236}">
                  <a16:creationId xmlns:a16="http://schemas.microsoft.com/office/drawing/2014/main" id="{B027E4B2-5B8F-4372-916A-1C3E23DA2A87}"/>
                </a:ext>
              </a:extLst>
            </p:cNvPr>
            <p:cNvGrpSpPr/>
            <p:nvPr/>
          </p:nvGrpSpPr>
          <p:grpSpPr>
            <a:xfrm>
              <a:off x="1915729" y="2235243"/>
              <a:ext cx="348597" cy="348597"/>
              <a:chOff x="1915729" y="2235243"/>
              <a:chExt cx="348597" cy="348597"/>
            </a:xfrm>
          </p:grpSpPr>
          <p:sp>
            <p:nvSpPr>
              <p:cNvPr id="136" name="Teardrop 135">
                <a:extLst>
                  <a:ext uri="{FF2B5EF4-FFF2-40B4-BE49-F238E27FC236}">
                    <a16:creationId xmlns:a16="http://schemas.microsoft.com/office/drawing/2014/main" id="{16C320B9-16F2-41FB-83B1-684E6898B1E5}"/>
                  </a:ext>
                </a:extLst>
              </p:cNvPr>
              <p:cNvSpPr/>
              <p:nvPr/>
            </p:nvSpPr>
            <p:spPr bwMode="auto">
              <a:xfrm rot="11274577">
                <a:off x="1915729" y="2235243"/>
                <a:ext cx="348597" cy="348597"/>
              </a:xfrm>
              <a:prstGeom prst="teardrop">
                <a:avLst/>
              </a:prstGeom>
              <a:solidFill>
                <a:schemeClr val="accent1">
                  <a:lumMod val="50000"/>
                </a:schemeClr>
              </a:solidFill>
              <a:ln w="3175">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7" name="Group 136">
                <a:extLst>
                  <a:ext uri="{FF2B5EF4-FFF2-40B4-BE49-F238E27FC236}">
                    <a16:creationId xmlns:a16="http://schemas.microsoft.com/office/drawing/2014/main" id="{015C4E11-059C-4DC4-BADA-AF4EC56EBFC7}"/>
                  </a:ext>
                </a:extLst>
              </p:cNvPr>
              <p:cNvGrpSpPr/>
              <p:nvPr/>
            </p:nvGrpSpPr>
            <p:grpSpPr>
              <a:xfrm>
                <a:off x="1984728" y="2324458"/>
                <a:ext cx="206180" cy="177799"/>
                <a:chOff x="1705915" y="2463665"/>
                <a:chExt cx="377015" cy="307524"/>
              </a:xfrm>
              <a:solidFill>
                <a:schemeClr val="bg1"/>
              </a:solidFill>
            </p:grpSpPr>
            <p:sp>
              <p:nvSpPr>
                <p:cNvPr id="138" name="Rectangle 137">
                  <a:extLst>
                    <a:ext uri="{FF2B5EF4-FFF2-40B4-BE49-F238E27FC236}">
                      <a16:creationId xmlns:a16="http://schemas.microsoft.com/office/drawing/2014/main" id="{23831B48-9D5A-4BE3-AEDF-DD230DCD57FC}"/>
                    </a:ext>
                  </a:extLst>
                </p:cNvPr>
                <p:cNvSpPr/>
                <p:nvPr/>
              </p:nvSpPr>
              <p:spPr bwMode="auto">
                <a:xfrm>
                  <a:off x="1705915" y="2697454"/>
                  <a:ext cx="114804" cy="11559"/>
                </a:xfrm>
                <a:prstGeom prst="rect">
                  <a:avLst/>
                </a:prstGeom>
                <a:solidFill>
                  <a:schemeClr val="accent1">
                    <a:lumMod val="60000"/>
                    <a:lumOff val="40000"/>
                  </a:schemeClr>
                </a:solid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Rectangle 138">
                  <a:extLst>
                    <a:ext uri="{FF2B5EF4-FFF2-40B4-BE49-F238E27FC236}">
                      <a16:creationId xmlns:a16="http://schemas.microsoft.com/office/drawing/2014/main" id="{E22CE7EF-D3FD-4C2F-8E9D-614B8FFF4B9D}"/>
                    </a:ext>
                  </a:extLst>
                </p:cNvPr>
                <p:cNvSpPr/>
                <p:nvPr/>
              </p:nvSpPr>
              <p:spPr bwMode="auto">
                <a:xfrm>
                  <a:off x="1831335" y="2697454"/>
                  <a:ext cx="114804" cy="11559"/>
                </a:xfrm>
                <a:prstGeom prst="rect">
                  <a:avLst/>
                </a:prstGeom>
                <a:solidFill>
                  <a:schemeClr val="accent1">
                    <a:lumMod val="60000"/>
                    <a:lumOff val="40000"/>
                  </a:schemeClr>
                </a:solid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Rectangle 139">
                  <a:extLst>
                    <a:ext uri="{FF2B5EF4-FFF2-40B4-BE49-F238E27FC236}">
                      <a16:creationId xmlns:a16="http://schemas.microsoft.com/office/drawing/2014/main" id="{1754E6D6-5BF2-4680-A89F-F7BE8F71F066}"/>
                    </a:ext>
                  </a:extLst>
                </p:cNvPr>
                <p:cNvSpPr/>
                <p:nvPr/>
              </p:nvSpPr>
              <p:spPr bwMode="auto">
                <a:xfrm>
                  <a:off x="1968125" y="2697454"/>
                  <a:ext cx="114804" cy="11559"/>
                </a:xfrm>
                <a:prstGeom prst="rect">
                  <a:avLst/>
                </a:prstGeom>
                <a:solidFill>
                  <a:schemeClr val="accent1">
                    <a:lumMod val="60000"/>
                    <a:lumOff val="40000"/>
                  </a:schemeClr>
                </a:solid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 name="Rectangle 140">
                  <a:extLst>
                    <a:ext uri="{FF2B5EF4-FFF2-40B4-BE49-F238E27FC236}">
                      <a16:creationId xmlns:a16="http://schemas.microsoft.com/office/drawing/2014/main" id="{B1D1A02F-2EED-40DD-9F5A-D9DED573E9B3}"/>
                    </a:ext>
                  </a:extLst>
                </p:cNvPr>
                <p:cNvSpPr/>
                <p:nvPr/>
              </p:nvSpPr>
              <p:spPr bwMode="auto">
                <a:xfrm>
                  <a:off x="1705915" y="2759630"/>
                  <a:ext cx="71753" cy="11559"/>
                </a:xfrm>
                <a:prstGeom prst="rect">
                  <a:avLst/>
                </a:prstGeom>
                <a:solidFill>
                  <a:schemeClr val="accent1">
                    <a:lumMod val="60000"/>
                    <a:lumOff val="40000"/>
                  </a:schemeClr>
                </a:solid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 name="Rectangle 141">
                  <a:extLst>
                    <a:ext uri="{FF2B5EF4-FFF2-40B4-BE49-F238E27FC236}">
                      <a16:creationId xmlns:a16="http://schemas.microsoft.com/office/drawing/2014/main" id="{34FF821A-465C-4C40-B32A-7EF198E0C85F}"/>
                    </a:ext>
                  </a:extLst>
                </p:cNvPr>
                <p:cNvSpPr/>
                <p:nvPr/>
              </p:nvSpPr>
              <p:spPr bwMode="auto">
                <a:xfrm>
                  <a:off x="1797308" y="2759630"/>
                  <a:ext cx="186557" cy="11559"/>
                </a:xfrm>
                <a:prstGeom prst="rect">
                  <a:avLst/>
                </a:prstGeom>
                <a:solidFill>
                  <a:schemeClr val="accent1">
                    <a:lumMod val="60000"/>
                    <a:lumOff val="40000"/>
                  </a:schemeClr>
                </a:solid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Rectangle 142">
                  <a:extLst>
                    <a:ext uri="{FF2B5EF4-FFF2-40B4-BE49-F238E27FC236}">
                      <a16:creationId xmlns:a16="http://schemas.microsoft.com/office/drawing/2014/main" id="{E47E6E8C-7433-4698-9719-3FD7149B00BD}"/>
                    </a:ext>
                  </a:extLst>
                </p:cNvPr>
                <p:cNvSpPr/>
                <p:nvPr/>
              </p:nvSpPr>
              <p:spPr bwMode="auto">
                <a:xfrm>
                  <a:off x="1996826" y="2759630"/>
                  <a:ext cx="86104" cy="11559"/>
                </a:xfrm>
                <a:prstGeom prst="rect">
                  <a:avLst/>
                </a:prstGeom>
                <a:solidFill>
                  <a:schemeClr val="accent1">
                    <a:lumMod val="60000"/>
                    <a:lumOff val="40000"/>
                  </a:schemeClr>
                </a:solid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Rectangle 143">
                  <a:extLst>
                    <a:ext uri="{FF2B5EF4-FFF2-40B4-BE49-F238E27FC236}">
                      <a16:creationId xmlns:a16="http://schemas.microsoft.com/office/drawing/2014/main" id="{6C04FD24-8C1F-4692-A15D-639D5A58D5F3}"/>
                    </a:ext>
                  </a:extLst>
                </p:cNvPr>
                <p:cNvSpPr/>
                <p:nvPr/>
              </p:nvSpPr>
              <p:spPr bwMode="auto">
                <a:xfrm>
                  <a:off x="1705915" y="2637125"/>
                  <a:ext cx="71753" cy="11559"/>
                </a:xfrm>
                <a:prstGeom prst="rect">
                  <a:avLst/>
                </a:prstGeom>
                <a:solidFill>
                  <a:schemeClr val="accent1">
                    <a:lumMod val="60000"/>
                    <a:lumOff val="40000"/>
                  </a:schemeClr>
                </a:solid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Rectangle 144">
                  <a:extLst>
                    <a:ext uri="{FF2B5EF4-FFF2-40B4-BE49-F238E27FC236}">
                      <a16:creationId xmlns:a16="http://schemas.microsoft.com/office/drawing/2014/main" id="{8ED3D34D-7DBF-4346-86B3-9782FAF04784}"/>
                    </a:ext>
                  </a:extLst>
                </p:cNvPr>
                <p:cNvSpPr/>
                <p:nvPr/>
              </p:nvSpPr>
              <p:spPr bwMode="auto">
                <a:xfrm>
                  <a:off x="1797308" y="2637125"/>
                  <a:ext cx="186557" cy="11559"/>
                </a:xfrm>
                <a:prstGeom prst="rect">
                  <a:avLst/>
                </a:prstGeom>
                <a:solidFill>
                  <a:schemeClr val="accent1">
                    <a:lumMod val="60000"/>
                    <a:lumOff val="40000"/>
                  </a:schemeClr>
                </a:solid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Rectangle 145">
                  <a:extLst>
                    <a:ext uri="{FF2B5EF4-FFF2-40B4-BE49-F238E27FC236}">
                      <a16:creationId xmlns:a16="http://schemas.microsoft.com/office/drawing/2014/main" id="{D1DDA681-98EE-49A7-A04F-EC2CD0AFE4C4}"/>
                    </a:ext>
                  </a:extLst>
                </p:cNvPr>
                <p:cNvSpPr/>
                <p:nvPr/>
              </p:nvSpPr>
              <p:spPr bwMode="auto">
                <a:xfrm>
                  <a:off x="1996826" y="2637125"/>
                  <a:ext cx="86104" cy="11559"/>
                </a:xfrm>
                <a:prstGeom prst="rect">
                  <a:avLst/>
                </a:prstGeom>
                <a:solidFill>
                  <a:schemeClr val="accent1">
                    <a:lumMod val="60000"/>
                    <a:lumOff val="40000"/>
                  </a:schemeClr>
                </a:solid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Rectangle 146">
                  <a:extLst>
                    <a:ext uri="{FF2B5EF4-FFF2-40B4-BE49-F238E27FC236}">
                      <a16:creationId xmlns:a16="http://schemas.microsoft.com/office/drawing/2014/main" id="{C1D641A8-C824-45B2-AFA5-F4A585FCF4A5}"/>
                    </a:ext>
                  </a:extLst>
                </p:cNvPr>
                <p:cNvSpPr/>
                <p:nvPr/>
              </p:nvSpPr>
              <p:spPr bwMode="auto">
                <a:xfrm>
                  <a:off x="1705915" y="2579651"/>
                  <a:ext cx="114804" cy="11559"/>
                </a:xfrm>
                <a:prstGeom prst="rect">
                  <a:avLst/>
                </a:prstGeom>
                <a:solidFill>
                  <a:schemeClr val="accent1">
                    <a:lumMod val="60000"/>
                    <a:lumOff val="40000"/>
                  </a:schemeClr>
                </a:solid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8" name="Rectangle 147">
                  <a:extLst>
                    <a:ext uri="{FF2B5EF4-FFF2-40B4-BE49-F238E27FC236}">
                      <a16:creationId xmlns:a16="http://schemas.microsoft.com/office/drawing/2014/main" id="{8F1EBBC8-5853-4704-A3C6-4F9B1DA304D9}"/>
                    </a:ext>
                  </a:extLst>
                </p:cNvPr>
                <p:cNvSpPr/>
                <p:nvPr/>
              </p:nvSpPr>
              <p:spPr bwMode="auto">
                <a:xfrm>
                  <a:off x="1831335" y="2579651"/>
                  <a:ext cx="114804" cy="11559"/>
                </a:xfrm>
                <a:prstGeom prst="rect">
                  <a:avLst/>
                </a:prstGeom>
                <a:solidFill>
                  <a:schemeClr val="accent1">
                    <a:lumMod val="60000"/>
                    <a:lumOff val="40000"/>
                  </a:schemeClr>
                </a:solid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Rectangle 148">
                  <a:extLst>
                    <a:ext uri="{FF2B5EF4-FFF2-40B4-BE49-F238E27FC236}">
                      <a16:creationId xmlns:a16="http://schemas.microsoft.com/office/drawing/2014/main" id="{81F4B845-D02C-467D-8C35-3E6969FEE545}"/>
                    </a:ext>
                  </a:extLst>
                </p:cNvPr>
                <p:cNvSpPr/>
                <p:nvPr/>
              </p:nvSpPr>
              <p:spPr bwMode="auto">
                <a:xfrm>
                  <a:off x="1968125" y="2579651"/>
                  <a:ext cx="114804" cy="11559"/>
                </a:xfrm>
                <a:prstGeom prst="rect">
                  <a:avLst/>
                </a:prstGeom>
                <a:solidFill>
                  <a:schemeClr val="accent1">
                    <a:lumMod val="60000"/>
                    <a:lumOff val="40000"/>
                  </a:schemeClr>
                </a:solid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Rectangle 149">
                  <a:extLst>
                    <a:ext uri="{FF2B5EF4-FFF2-40B4-BE49-F238E27FC236}">
                      <a16:creationId xmlns:a16="http://schemas.microsoft.com/office/drawing/2014/main" id="{06107A0D-245A-46A1-8388-F64792231969}"/>
                    </a:ext>
                  </a:extLst>
                </p:cNvPr>
                <p:cNvSpPr/>
                <p:nvPr/>
              </p:nvSpPr>
              <p:spPr bwMode="auto">
                <a:xfrm>
                  <a:off x="1705915" y="2463665"/>
                  <a:ext cx="114804" cy="11559"/>
                </a:xfrm>
                <a:prstGeom prst="rect">
                  <a:avLst/>
                </a:prstGeom>
                <a:solidFill>
                  <a:schemeClr val="accent1">
                    <a:lumMod val="60000"/>
                    <a:lumOff val="40000"/>
                  </a:schemeClr>
                </a:solid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Rectangle 150">
                  <a:extLst>
                    <a:ext uri="{FF2B5EF4-FFF2-40B4-BE49-F238E27FC236}">
                      <a16:creationId xmlns:a16="http://schemas.microsoft.com/office/drawing/2014/main" id="{A6E57ED8-E5E4-4EB4-BB3E-E71320D18708}"/>
                    </a:ext>
                  </a:extLst>
                </p:cNvPr>
                <p:cNvSpPr/>
                <p:nvPr/>
              </p:nvSpPr>
              <p:spPr bwMode="auto">
                <a:xfrm>
                  <a:off x="1705915" y="2498551"/>
                  <a:ext cx="114804" cy="11559"/>
                </a:xfrm>
                <a:prstGeom prst="rect">
                  <a:avLst/>
                </a:prstGeom>
                <a:solidFill>
                  <a:schemeClr val="accent1">
                    <a:lumMod val="60000"/>
                    <a:lumOff val="40000"/>
                  </a:schemeClr>
                </a:solidFill>
                <a:ln w="31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14" name="Group 13">
            <a:extLst>
              <a:ext uri="{FF2B5EF4-FFF2-40B4-BE49-F238E27FC236}">
                <a16:creationId xmlns:a16="http://schemas.microsoft.com/office/drawing/2014/main" id="{40F66380-37E8-462C-8BF4-6F9B71B8AB8C}"/>
              </a:ext>
            </a:extLst>
          </p:cNvPr>
          <p:cNvGrpSpPr/>
          <p:nvPr/>
        </p:nvGrpSpPr>
        <p:grpSpPr>
          <a:xfrm>
            <a:off x="7587563" y="1774370"/>
            <a:ext cx="414412" cy="377434"/>
            <a:chOff x="7792529" y="1785648"/>
            <a:chExt cx="414412" cy="377434"/>
          </a:xfrm>
        </p:grpSpPr>
        <p:sp>
          <p:nvSpPr>
            <p:cNvPr id="169" name="Freeform 6">
              <a:extLst>
                <a:ext uri="{FF2B5EF4-FFF2-40B4-BE49-F238E27FC236}">
                  <a16:creationId xmlns:a16="http://schemas.microsoft.com/office/drawing/2014/main" id="{D3F2FFD9-2DA6-4479-916E-09236C7687FD}"/>
                </a:ext>
              </a:extLst>
            </p:cNvPr>
            <p:cNvSpPr>
              <a:spLocks/>
            </p:cNvSpPr>
            <p:nvPr/>
          </p:nvSpPr>
          <p:spPr bwMode="auto">
            <a:xfrm>
              <a:off x="7972548" y="2062849"/>
              <a:ext cx="47036" cy="15662"/>
            </a:xfrm>
            <a:custGeom>
              <a:avLst/>
              <a:gdLst>
                <a:gd name="T0" fmla="*/ 0 w 57"/>
                <a:gd name="T1" fmla="*/ 19 h 19"/>
                <a:gd name="T2" fmla="*/ 0 w 57"/>
                <a:gd name="T3" fmla="*/ 14 h 19"/>
                <a:gd name="T4" fmla="*/ 15 w 57"/>
                <a:gd name="T5" fmla="*/ 0 h 19"/>
                <a:gd name="T6" fmla="*/ 57 w 57"/>
                <a:gd name="T7" fmla="*/ 0 h 19"/>
              </a:gdLst>
              <a:ahLst/>
              <a:cxnLst>
                <a:cxn ang="0">
                  <a:pos x="T0" y="T1"/>
                </a:cxn>
                <a:cxn ang="0">
                  <a:pos x="T2" y="T3"/>
                </a:cxn>
                <a:cxn ang="0">
                  <a:pos x="T4" y="T5"/>
                </a:cxn>
                <a:cxn ang="0">
                  <a:pos x="T6" y="T7"/>
                </a:cxn>
              </a:cxnLst>
              <a:rect l="0" t="0" r="r" b="b"/>
              <a:pathLst>
                <a:path w="57" h="19">
                  <a:moveTo>
                    <a:pt x="0" y="19"/>
                  </a:moveTo>
                  <a:cubicBezTo>
                    <a:pt x="0" y="14"/>
                    <a:pt x="0" y="14"/>
                    <a:pt x="0" y="14"/>
                  </a:cubicBezTo>
                  <a:cubicBezTo>
                    <a:pt x="0" y="6"/>
                    <a:pt x="6" y="0"/>
                    <a:pt x="15" y="0"/>
                  </a:cubicBezTo>
                  <a:cubicBezTo>
                    <a:pt x="57" y="0"/>
                    <a:pt x="57" y="0"/>
                    <a:pt x="57" y="0"/>
                  </a:cubicBezTo>
                </a:path>
              </a:pathLst>
            </a:custGeom>
            <a:noFill/>
            <a:ln w="12700">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70" name="Freeform 7">
              <a:extLst>
                <a:ext uri="{FF2B5EF4-FFF2-40B4-BE49-F238E27FC236}">
                  <a16:creationId xmlns:a16="http://schemas.microsoft.com/office/drawing/2014/main" id="{34DAAD7E-EC7C-428C-B0AA-FC8A8F05EE53}"/>
                </a:ext>
              </a:extLst>
            </p:cNvPr>
            <p:cNvSpPr>
              <a:spLocks/>
            </p:cNvSpPr>
            <p:nvPr/>
          </p:nvSpPr>
          <p:spPr bwMode="auto">
            <a:xfrm>
              <a:off x="8104172" y="1975927"/>
              <a:ext cx="48618" cy="94360"/>
            </a:xfrm>
            <a:custGeom>
              <a:avLst/>
              <a:gdLst>
                <a:gd name="T0" fmla="*/ 0 w 59"/>
                <a:gd name="T1" fmla="*/ 0 h 115"/>
                <a:gd name="T2" fmla="*/ 0 w 59"/>
                <a:gd name="T3" fmla="*/ 62 h 115"/>
                <a:gd name="T4" fmla="*/ 15 w 59"/>
                <a:gd name="T5" fmla="*/ 77 h 115"/>
                <a:gd name="T6" fmla="*/ 45 w 59"/>
                <a:gd name="T7" fmla="*/ 77 h 115"/>
                <a:gd name="T8" fmla="*/ 59 w 59"/>
                <a:gd name="T9" fmla="*/ 91 h 115"/>
                <a:gd name="T10" fmla="*/ 59 w 59"/>
                <a:gd name="T11" fmla="*/ 115 h 115"/>
              </a:gdLst>
              <a:ahLst/>
              <a:cxnLst>
                <a:cxn ang="0">
                  <a:pos x="T0" y="T1"/>
                </a:cxn>
                <a:cxn ang="0">
                  <a:pos x="T2" y="T3"/>
                </a:cxn>
                <a:cxn ang="0">
                  <a:pos x="T4" y="T5"/>
                </a:cxn>
                <a:cxn ang="0">
                  <a:pos x="T6" y="T7"/>
                </a:cxn>
                <a:cxn ang="0">
                  <a:pos x="T8" y="T9"/>
                </a:cxn>
                <a:cxn ang="0">
                  <a:pos x="T10" y="T11"/>
                </a:cxn>
              </a:cxnLst>
              <a:rect l="0" t="0" r="r" b="b"/>
              <a:pathLst>
                <a:path w="59" h="115">
                  <a:moveTo>
                    <a:pt x="0" y="0"/>
                  </a:moveTo>
                  <a:cubicBezTo>
                    <a:pt x="0" y="62"/>
                    <a:pt x="0" y="62"/>
                    <a:pt x="0" y="62"/>
                  </a:cubicBezTo>
                  <a:cubicBezTo>
                    <a:pt x="0" y="70"/>
                    <a:pt x="7" y="77"/>
                    <a:pt x="15" y="77"/>
                  </a:cubicBezTo>
                  <a:cubicBezTo>
                    <a:pt x="45" y="77"/>
                    <a:pt x="45" y="77"/>
                    <a:pt x="45" y="77"/>
                  </a:cubicBezTo>
                  <a:cubicBezTo>
                    <a:pt x="53" y="77"/>
                    <a:pt x="59" y="83"/>
                    <a:pt x="59" y="91"/>
                  </a:cubicBezTo>
                  <a:cubicBezTo>
                    <a:pt x="59" y="115"/>
                    <a:pt x="59" y="115"/>
                    <a:pt x="59" y="115"/>
                  </a:cubicBezTo>
                </a:path>
              </a:pathLst>
            </a:custGeom>
            <a:noFill/>
            <a:ln w="12700">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71" name="Freeform 8">
              <a:extLst>
                <a:ext uri="{FF2B5EF4-FFF2-40B4-BE49-F238E27FC236}">
                  <a16:creationId xmlns:a16="http://schemas.microsoft.com/office/drawing/2014/main" id="{3F756E34-12C5-4707-BA1E-7C0AC414C565}"/>
                </a:ext>
              </a:extLst>
            </p:cNvPr>
            <p:cNvSpPr>
              <a:spLocks/>
            </p:cNvSpPr>
            <p:nvPr/>
          </p:nvSpPr>
          <p:spPr bwMode="auto">
            <a:xfrm>
              <a:off x="8121563" y="1899970"/>
              <a:ext cx="66405" cy="28583"/>
            </a:xfrm>
            <a:custGeom>
              <a:avLst/>
              <a:gdLst>
                <a:gd name="T0" fmla="*/ 0 w 80"/>
                <a:gd name="T1" fmla="*/ 35 h 35"/>
                <a:gd name="T2" fmla="*/ 69 w 80"/>
                <a:gd name="T3" fmla="*/ 35 h 35"/>
                <a:gd name="T4" fmla="*/ 80 w 80"/>
                <a:gd name="T5" fmla="*/ 23 h 35"/>
                <a:gd name="T6" fmla="*/ 80 w 80"/>
                <a:gd name="T7" fmla="*/ 0 h 35"/>
              </a:gdLst>
              <a:ahLst/>
              <a:cxnLst>
                <a:cxn ang="0">
                  <a:pos x="T0" y="T1"/>
                </a:cxn>
                <a:cxn ang="0">
                  <a:pos x="T2" y="T3"/>
                </a:cxn>
                <a:cxn ang="0">
                  <a:pos x="T4" y="T5"/>
                </a:cxn>
                <a:cxn ang="0">
                  <a:pos x="T6" y="T7"/>
                </a:cxn>
              </a:cxnLst>
              <a:rect l="0" t="0" r="r" b="b"/>
              <a:pathLst>
                <a:path w="80" h="35">
                  <a:moveTo>
                    <a:pt x="0" y="35"/>
                  </a:moveTo>
                  <a:cubicBezTo>
                    <a:pt x="69" y="35"/>
                    <a:pt x="69" y="35"/>
                    <a:pt x="69" y="35"/>
                  </a:cubicBezTo>
                  <a:cubicBezTo>
                    <a:pt x="75" y="35"/>
                    <a:pt x="80" y="30"/>
                    <a:pt x="80" y="23"/>
                  </a:cubicBezTo>
                  <a:cubicBezTo>
                    <a:pt x="80" y="0"/>
                    <a:pt x="80" y="0"/>
                    <a:pt x="80" y="0"/>
                  </a:cubicBezTo>
                </a:path>
              </a:pathLst>
            </a:custGeom>
            <a:noFill/>
            <a:ln w="12700">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72" name="Oval 9">
              <a:extLst>
                <a:ext uri="{FF2B5EF4-FFF2-40B4-BE49-F238E27FC236}">
                  <a16:creationId xmlns:a16="http://schemas.microsoft.com/office/drawing/2014/main" id="{AA54EFCE-2C29-402F-8FAD-C0340D42DA15}"/>
                </a:ext>
              </a:extLst>
            </p:cNvPr>
            <p:cNvSpPr>
              <a:spLocks noChangeArrowheads="1"/>
            </p:cNvSpPr>
            <p:nvPr/>
          </p:nvSpPr>
          <p:spPr bwMode="auto">
            <a:xfrm>
              <a:off x="7953179" y="2077727"/>
              <a:ext cx="38341" cy="37979"/>
            </a:xfrm>
            <a:prstGeom prst="ellipse">
              <a:avLst/>
            </a:prstGeom>
            <a:noFill/>
            <a:ln w="95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73" name="Oval 11">
              <a:extLst>
                <a:ext uri="{FF2B5EF4-FFF2-40B4-BE49-F238E27FC236}">
                  <a16:creationId xmlns:a16="http://schemas.microsoft.com/office/drawing/2014/main" id="{C5912EFC-86EE-4668-BB58-C8881D3DCFC7}"/>
                </a:ext>
              </a:extLst>
            </p:cNvPr>
            <p:cNvSpPr>
              <a:spLocks noChangeArrowheads="1"/>
            </p:cNvSpPr>
            <p:nvPr/>
          </p:nvSpPr>
          <p:spPr bwMode="auto">
            <a:xfrm>
              <a:off x="8133817" y="2070288"/>
              <a:ext cx="38341" cy="37979"/>
            </a:xfrm>
            <a:prstGeom prst="ellipse">
              <a:avLst/>
            </a:prstGeom>
            <a:noFill/>
            <a:ln w="95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74" name="Oval 12">
              <a:extLst>
                <a:ext uri="{FF2B5EF4-FFF2-40B4-BE49-F238E27FC236}">
                  <a16:creationId xmlns:a16="http://schemas.microsoft.com/office/drawing/2014/main" id="{E36505EA-DB8B-44B0-B113-021C990FC335}"/>
                </a:ext>
              </a:extLst>
            </p:cNvPr>
            <p:cNvSpPr>
              <a:spLocks noChangeArrowheads="1"/>
            </p:cNvSpPr>
            <p:nvPr/>
          </p:nvSpPr>
          <p:spPr bwMode="auto">
            <a:xfrm>
              <a:off x="8168600" y="1861991"/>
              <a:ext cx="38341" cy="37979"/>
            </a:xfrm>
            <a:prstGeom prst="ellipse">
              <a:avLst/>
            </a:prstGeom>
            <a:noFill/>
            <a:ln w="95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75" name="Freeform 5">
              <a:extLst>
                <a:ext uri="{FF2B5EF4-FFF2-40B4-BE49-F238E27FC236}">
                  <a16:creationId xmlns:a16="http://schemas.microsoft.com/office/drawing/2014/main" id="{A9F6C2FE-50B6-4B13-9CDF-EAD5A9E3B715}"/>
                </a:ext>
              </a:extLst>
            </p:cNvPr>
            <p:cNvSpPr>
              <a:spLocks/>
            </p:cNvSpPr>
            <p:nvPr/>
          </p:nvSpPr>
          <p:spPr bwMode="auto">
            <a:xfrm>
              <a:off x="8019585" y="2013124"/>
              <a:ext cx="33993" cy="131164"/>
            </a:xfrm>
            <a:custGeom>
              <a:avLst/>
              <a:gdLst>
                <a:gd name="T0" fmla="*/ 0 w 41"/>
                <a:gd name="T1" fmla="*/ 0 h 160"/>
                <a:gd name="T2" fmla="*/ 0 w 41"/>
                <a:gd name="T3" fmla="*/ 145 h 160"/>
                <a:gd name="T4" fmla="*/ 15 w 41"/>
                <a:gd name="T5" fmla="*/ 160 h 160"/>
                <a:gd name="T6" fmla="*/ 41 w 41"/>
                <a:gd name="T7" fmla="*/ 160 h 160"/>
              </a:gdLst>
              <a:ahLst/>
              <a:cxnLst>
                <a:cxn ang="0">
                  <a:pos x="T0" y="T1"/>
                </a:cxn>
                <a:cxn ang="0">
                  <a:pos x="T2" y="T3"/>
                </a:cxn>
                <a:cxn ang="0">
                  <a:pos x="T4" y="T5"/>
                </a:cxn>
                <a:cxn ang="0">
                  <a:pos x="T6" y="T7"/>
                </a:cxn>
              </a:cxnLst>
              <a:rect l="0" t="0" r="r" b="b"/>
              <a:pathLst>
                <a:path w="41" h="160">
                  <a:moveTo>
                    <a:pt x="0" y="0"/>
                  </a:moveTo>
                  <a:cubicBezTo>
                    <a:pt x="0" y="145"/>
                    <a:pt x="0" y="145"/>
                    <a:pt x="0" y="145"/>
                  </a:cubicBezTo>
                  <a:cubicBezTo>
                    <a:pt x="0" y="154"/>
                    <a:pt x="6" y="160"/>
                    <a:pt x="15" y="160"/>
                  </a:cubicBezTo>
                  <a:cubicBezTo>
                    <a:pt x="41" y="160"/>
                    <a:pt x="41" y="160"/>
                    <a:pt x="41" y="160"/>
                  </a:cubicBezTo>
                </a:path>
              </a:pathLst>
            </a:custGeom>
            <a:noFill/>
            <a:ln w="12700">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76" name="Oval 10">
              <a:extLst>
                <a:ext uri="{FF2B5EF4-FFF2-40B4-BE49-F238E27FC236}">
                  <a16:creationId xmlns:a16="http://schemas.microsoft.com/office/drawing/2014/main" id="{C9E81349-A17C-4DB9-A857-CB0762A2233D}"/>
                </a:ext>
              </a:extLst>
            </p:cNvPr>
            <p:cNvSpPr>
              <a:spLocks noChangeArrowheads="1"/>
            </p:cNvSpPr>
            <p:nvPr/>
          </p:nvSpPr>
          <p:spPr bwMode="auto">
            <a:xfrm>
              <a:off x="8053578" y="2125494"/>
              <a:ext cx="37946" cy="37588"/>
            </a:xfrm>
            <a:prstGeom prst="ellipse">
              <a:avLst/>
            </a:prstGeom>
            <a:noFill/>
            <a:ln w="95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grpSp>
          <p:nvGrpSpPr>
            <p:cNvPr id="177" name="Magnifying_Glass">
              <a:extLst>
                <a:ext uri="{FF2B5EF4-FFF2-40B4-BE49-F238E27FC236}">
                  <a16:creationId xmlns:a16="http://schemas.microsoft.com/office/drawing/2014/main" id="{61E86E9F-62D7-48ED-B7E4-1270225380F0}"/>
                </a:ext>
              </a:extLst>
            </p:cNvPr>
            <p:cNvGrpSpPr/>
            <p:nvPr/>
          </p:nvGrpSpPr>
          <p:grpSpPr>
            <a:xfrm flipH="1">
              <a:off x="7792529" y="1785648"/>
              <a:ext cx="348209" cy="344923"/>
              <a:chOff x="5741782" y="1706805"/>
              <a:chExt cx="657225" cy="657225"/>
            </a:xfrm>
          </p:grpSpPr>
          <p:sp>
            <p:nvSpPr>
              <p:cNvPr id="178" name="Freeform: Shape 177">
                <a:extLst>
                  <a:ext uri="{FF2B5EF4-FFF2-40B4-BE49-F238E27FC236}">
                    <a16:creationId xmlns:a16="http://schemas.microsoft.com/office/drawing/2014/main" id="{0A8ADF5C-4AAD-4782-9158-24DFD09F5459}"/>
                  </a:ext>
                </a:extLst>
              </p:cNvPr>
              <p:cNvSpPr/>
              <p:nvPr/>
            </p:nvSpPr>
            <p:spPr>
              <a:xfrm>
                <a:off x="5769524" y="1733237"/>
                <a:ext cx="390525" cy="390525"/>
              </a:xfrm>
              <a:custGeom>
                <a:avLst/>
                <a:gdLst/>
                <a:ahLst/>
                <a:cxnLst/>
                <a:rect l="0" t="0" r="0" b="0"/>
                <a:pathLst>
                  <a:path w="390525" h="390525">
                    <a:moveTo>
                      <a:pt x="390049" y="198596"/>
                    </a:moveTo>
                    <a:cubicBezTo>
                      <a:pt x="390049" y="304333"/>
                      <a:pt x="304333" y="390049"/>
                      <a:pt x="198596" y="390049"/>
                    </a:cubicBezTo>
                    <a:cubicBezTo>
                      <a:pt x="92860" y="390049"/>
                      <a:pt x="7144" y="304333"/>
                      <a:pt x="7144" y="198596"/>
                    </a:cubicBezTo>
                    <a:cubicBezTo>
                      <a:pt x="7144" y="92860"/>
                      <a:pt x="92860" y="7144"/>
                      <a:pt x="198596" y="7144"/>
                    </a:cubicBezTo>
                    <a:cubicBezTo>
                      <a:pt x="304333" y="7144"/>
                      <a:pt x="390049" y="92860"/>
                      <a:pt x="390049" y="198596"/>
                    </a:cubicBezTo>
                    <a:close/>
                  </a:path>
                </a:pathLst>
              </a:custGeom>
              <a:solidFill>
                <a:srgbClr val="FFFFFF">
                  <a:lumMod val="85000"/>
                </a:srgbClr>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C955DFC4-BA7B-45F7-A378-9819D7675BE8}"/>
                  </a:ext>
                </a:extLst>
              </p:cNvPr>
              <p:cNvSpPr/>
              <p:nvPr/>
            </p:nvSpPr>
            <p:spPr>
              <a:xfrm>
                <a:off x="5741782" y="1706805"/>
                <a:ext cx="657225" cy="657225"/>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rgbClr val="005A9F"/>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327C88A3-A738-4230-91E7-71E87F6D3084}"/>
                  </a:ext>
                </a:extLst>
              </p:cNvPr>
              <p:cNvSpPr/>
              <p:nvPr/>
            </p:nvSpPr>
            <p:spPr>
              <a:xfrm>
                <a:off x="5913352" y="1788482"/>
                <a:ext cx="104775" cy="104775"/>
              </a:xfrm>
              <a:custGeom>
                <a:avLst/>
                <a:gdLst/>
                <a:ahLst/>
                <a:cxnLst/>
                <a:rect l="0" t="0" r="0" b="0"/>
                <a:pathLst>
                  <a:path w="104775" h="104775">
                    <a:moveTo>
                      <a:pt x="98584" y="52864"/>
                    </a:moveTo>
                    <a:cubicBezTo>
                      <a:pt x="98584" y="78114"/>
                      <a:pt x="78114" y="98584"/>
                      <a:pt x="52864" y="98584"/>
                    </a:cubicBezTo>
                    <a:cubicBezTo>
                      <a:pt x="27613" y="98584"/>
                      <a:pt x="7144" y="78114"/>
                      <a:pt x="7144" y="52864"/>
                    </a:cubicBezTo>
                    <a:cubicBezTo>
                      <a:pt x="7144" y="27613"/>
                      <a:pt x="27613" y="7144"/>
                      <a:pt x="52864" y="7144"/>
                    </a:cubicBezTo>
                    <a:cubicBezTo>
                      <a:pt x="78114" y="7144"/>
                      <a:pt x="98584" y="27613"/>
                      <a:pt x="98584" y="52864"/>
                    </a:cubicBezTo>
                    <a:close/>
                  </a:path>
                </a:pathLst>
              </a:custGeom>
              <a:solidFill>
                <a:srgbClr val="FFFFFF"/>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E6D6E6D2-0428-4189-AE58-8D2ED2AE0783}"/>
                  </a:ext>
                </a:extLst>
              </p:cNvPr>
              <p:cNvSpPr/>
              <p:nvPr/>
            </p:nvSpPr>
            <p:spPr>
              <a:xfrm>
                <a:off x="6128617" y="2121857"/>
                <a:ext cx="266700" cy="238125"/>
              </a:xfrm>
              <a:custGeom>
                <a:avLst/>
                <a:gdLst/>
                <a:ahLst/>
                <a:cxnLst/>
                <a:rect l="0" t="0" r="0" b="0"/>
                <a:pathLst>
                  <a:path w="266700" h="238125">
                    <a:moveTo>
                      <a:pt x="10001" y="32861"/>
                    </a:moveTo>
                    <a:lnTo>
                      <a:pt x="35719" y="7144"/>
                    </a:lnTo>
                    <a:lnTo>
                      <a:pt x="214789" y="186214"/>
                    </a:lnTo>
                    <a:cubicBezTo>
                      <a:pt x="216694" y="188119"/>
                      <a:pt x="219551" y="188119"/>
                      <a:pt x="221456" y="186214"/>
                    </a:cubicBezTo>
                    <a:lnTo>
                      <a:pt x="251936" y="155734"/>
                    </a:lnTo>
                    <a:lnTo>
                      <a:pt x="261461" y="165259"/>
                    </a:lnTo>
                    <a:cubicBezTo>
                      <a:pt x="265271" y="169069"/>
                      <a:pt x="265271" y="175736"/>
                      <a:pt x="261461" y="180499"/>
                    </a:cubicBezTo>
                    <a:lnTo>
                      <a:pt x="208121" y="233839"/>
                    </a:lnTo>
                    <a:cubicBezTo>
                      <a:pt x="204311" y="237649"/>
                      <a:pt x="197644" y="237649"/>
                      <a:pt x="192881" y="233839"/>
                    </a:cubicBezTo>
                    <a:lnTo>
                      <a:pt x="10001" y="48101"/>
                    </a:lnTo>
                    <a:cubicBezTo>
                      <a:pt x="6191" y="44291"/>
                      <a:pt x="6191" y="36671"/>
                      <a:pt x="10001" y="32861"/>
                    </a:cubicBezTo>
                    <a:close/>
                  </a:path>
                </a:pathLst>
              </a:custGeom>
              <a:solidFill>
                <a:srgbClr val="163E6A"/>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grpSp>
      </p:grpSp>
      <p:grpSp>
        <p:nvGrpSpPr>
          <p:cNvPr id="7" name="Graphic 5" descr="Media Services Media Indexer">
            <a:extLst>
              <a:ext uri="{FF2B5EF4-FFF2-40B4-BE49-F238E27FC236}">
                <a16:creationId xmlns:a16="http://schemas.microsoft.com/office/drawing/2014/main" id="{35871CF3-69DF-447C-A3C3-D022FF3B0823}"/>
              </a:ext>
            </a:extLst>
          </p:cNvPr>
          <p:cNvGrpSpPr>
            <a:grpSpLocks noChangeAspect="1"/>
          </p:cNvGrpSpPr>
          <p:nvPr/>
        </p:nvGrpSpPr>
        <p:grpSpPr>
          <a:xfrm>
            <a:off x="9825785" y="1792805"/>
            <a:ext cx="343466" cy="343467"/>
            <a:chOff x="9823486" y="1753795"/>
            <a:chExt cx="392185" cy="392186"/>
          </a:xfrm>
        </p:grpSpPr>
        <p:sp>
          <p:nvSpPr>
            <p:cNvPr id="8" name="Freeform: Shape 7">
              <a:extLst>
                <a:ext uri="{FF2B5EF4-FFF2-40B4-BE49-F238E27FC236}">
                  <a16:creationId xmlns:a16="http://schemas.microsoft.com/office/drawing/2014/main" id="{08A319DE-A2BD-46EA-9B5B-A93978856220}"/>
                </a:ext>
              </a:extLst>
            </p:cNvPr>
            <p:cNvSpPr/>
            <p:nvPr/>
          </p:nvSpPr>
          <p:spPr>
            <a:xfrm>
              <a:off x="9968659" y="1797256"/>
              <a:ext cx="203208" cy="203133"/>
            </a:xfrm>
            <a:custGeom>
              <a:avLst/>
              <a:gdLst>
                <a:gd name="connsiteX0" fmla="*/ 199973 w 203208"/>
                <a:gd name="connsiteY0" fmla="*/ 125640 h 203133"/>
                <a:gd name="connsiteX1" fmla="*/ 101361 w 203208"/>
                <a:gd name="connsiteY1" fmla="*/ 203134 h 203133"/>
                <a:gd name="connsiteX2" fmla="*/ 76708 w 203208"/>
                <a:gd name="connsiteY2" fmla="*/ 199612 h 203133"/>
                <a:gd name="connsiteX3" fmla="*/ 43835 w 203208"/>
                <a:gd name="connsiteY3" fmla="*/ 184345 h 203133"/>
                <a:gd name="connsiteX4" fmla="*/ 18005 w 203208"/>
                <a:gd name="connsiteY4" fmla="*/ 158511 h 203133"/>
                <a:gd name="connsiteX5" fmla="*/ 2741 w 203208"/>
                <a:gd name="connsiteY5" fmla="*/ 77495 h 203133"/>
                <a:gd name="connsiteX6" fmla="*/ 101353 w 203208"/>
                <a:gd name="connsiteY6" fmla="*/ 0 h 203133"/>
                <a:gd name="connsiteX7" fmla="*/ 126006 w 203208"/>
                <a:gd name="connsiteY7" fmla="*/ 3522 h 203133"/>
                <a:gd name="connsiteX8" fmla="*/ 188231 w 203208"/>
                <a:gd name="connsiteY8" fmla="*/ 49314 h 203133"/>
                <a:gd name="connsiteX9" fmla="*/ 199973 w 203208"/>
                <a:gd name="connsiteY9" fmla="*/ 125640 h 20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8" h="203133">
                  <a:moveTo>
                    <a:pt x="199973" y="125640"/>
                  </a:moveTo>
                  <a:cubicBezTo>
                    <a:pt x="188231" y="171431"/>
                    <a:pt x="148314" y="203134"/>
                    <a:pt x="101361" y="203134"/>
                  </a:cubicBezTo>
                  <a:cubicBezTo>
                    <a:pt x="93141" y="203134"/>
                    <a:pt x="84928" y="201957"/>
                    <a:pt x="76708" y="199612"/>
                  </a:cubicBezTo>
                  <a:cubicBezTo>
                    <a:pt x="64966" y="196089"/>
                    <a:pt x="53231" y="191390"/>
                    <a:pt x="43835" y="184345"/>
                  </a:cubicBezTo>
                  <a:cubicBezTo>
                    <a:pt x="33269" y="177300"/>
                    <a:pt x="25049" y="167909"/>
                    <a:pt x="18005" y="158511"/>
                  </a:cubicBezTo>
                  <a:cubicBezTo>
                    <a:pt x="2741" y="135030"/>
                    <a:pt x="-4303" y="106843"/>
                    <a:pt x="2741" y="77495"/>
                  </a:cubicBezTo>
                  <a:cubicBezTo>
                    <a:pt x="14483" y="31702"/>
                    <a:pt x="54400" y="0"/>
                    <a:pt x="101353" y="0"/>
                  </a:cubicBezTo>
                  <a:cubicBezTo>
                    <a:pt x="109573" y="0"/>
                    <a:pt x="117786" y="1177"/>
                    <a:pt x="126006" y="3522"/>
                  </a:cubicBezTo>
                  <a:cubicBezTo>
                    <a:pt x="151836" y="10567"/>
                    <a:pt x="174143" y="25834"/>
                    <a:pt x="188231" y="49314"/>
                  </a:cubicBezTo>
                  <a:cubicBezTo>
                    <a:pt x="202318" y="71626"/>
                    <a:pt x="207016" y="99806"/>
                    <a:pt x="199973" y="125640"/>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1B163781-CF05-40EB-8FBC-88DCC4CBEA0C}"/>
                </a:ext>
              </a:extLst>
            </p:cNvPr>
            <p:cNvSpPr/>
            <p:nvPr/>
          </p:nvSpPr>
          <p:spPr>
            <a:xfrm>
              <a:off x="9968659" y="1797256"/>
              <a:ext cx="203208" cy="203133"/>
            </a:xfrm>
            <a:custGeom>
              <a:avLst/>
              <a:gdLst>
                <a:gd name="connsiteX0" fmla="*/ 199973 w 203208"/>
                <a:gd name="connsiteY0" fmla="*/ 125640 h 203133"/>
                <a:gd name="connsiteX1" fmla="*/ 101361 w 203208"/>
                <a:gd name="connsiteY1" fmla="*/ 203134 h 203133"/>
                <a:gd name="connsiteX2" fmla="*/ 76708 w 203208"/>
                <a:gd name="connsiteY2" fmla="*/ 199612 h 203133"/>
                <a:gd name="connsiteX3" fmla="*/ 43835 w 203208"/>
                <a:gd name="connsiteY3" fmla="*/ 184345 h 203133"/>
                <a:gd name="connsiteX4" fmla="*/ 18005 w 203208"/>
                <a:gd name="connsiteY4" fmla="*/ 158511 h 203133"/>
                <a:gd name="connsiteX5" fmla="*/ 2741 w 203208"/>
                <a:gd name="connsiteY5" fmla="*/ 77495 h 203133"/>
                <a:gd name="connsiteX6" fmla="*/ 101353 w 203208"/>
                <a:gd name="connsiteY6" fmla="*/ 0 h 203133"/>
                <a:gd name="connsiteX7" fmla="*/ 126006 w 203208"/>
                <a:gd name="connsiteY7" fmla="*/ 3522 h 203133"/>
                <a:gd name="connsiteX8" fmla="*/ 188231 w 203208"/>
                <a:gd name="connsiteY8" fmla="*/ 49314 h 203133"/>
                <a:gd name="connsiteX9" fmla="*/ 199973 w 203208"/>
                <a:gd name="connsiteY9" fmla="*/ 125640 h 20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8" h="203133">
                  <a:moveTo>
                    <a:pt x="199973" y="125640"/>
                  </a:moveTo>
                  <a:cubicBezTo>
                    <a:pt x="188231" y="171431"/>
                    <a:pt x="148314" y="203134"/>
                    <a:pt x="101361" y="203134"/>
                  </a:cubicBezTo>
                  <a:cubicBezTo>
                    <a:pt x="93141" y="203134"/>
                    <a:pt x="84928" y="201957"/>
                    <a:pt x="76708" y="199612"/>
                  </a:cubicBezTo>
                  <a:cubicBezTo>
                    <a:pt x="64966" y="196089"/>
                    <a:pt x="53231" y="191390"/>
                    <a:pt x="43835" y="184345"/>
                  </a:cubicBezTo>
                  <a:cubicBezTo>
                    <a:pt x="33269" y="177300"/>
                    <a:pt x="25049" y="167909"/>
                    <a:pt x="18005" y="158511"/>
                  </a:cubicBezTo>
                  <a:cubicBezTo>
                    <a:pt x="2741" y="135030"/>
                    <a:pt x="-4303" y="106843"/>
                    <a:pt x="2741" y="77495"/>
                  </a:cubicBezTo>
                  <a:cubicBezTo>
                    <a:pt x="14483" y="31702"/>
                    <a:pt x="54400" y="0"/>
                    <a:pt x="101353" y="0"/>
                  </a:cubicBezTo>
                  <a:cubicBezTo>
                    <a:pt x="109573" y="0"/>
                    <a:pt x="117786" y="1177"/>
                    <a:pt x="126006" y="3522"/>
                  </a:cubicBezTo>
                  <a:cubicBezTo>
                    <a:pt x="151836" y="10567"/>
                    <a:pt x="174143" y="25834"/>
                    <a:pt x="188231" y="49314"/>
                  </a:cubicBezTo>
                  <a:cubicBezTo>
                    <a:pt x="202318" y="71626"/>
                    <a:pt x="207016" y="99806"/>
                    <a:pt x="199973" y="125640"/>
                  </a:cubicBezTo>
                  <a:close/>
                </a:path>
              </a:pathLst>
            </a:custGeom>
            <a:solidFill>
              <a:srgbClr val="59B4D9">
                <a:alpha val="10000"/>
              </a:srgb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0F1E130A-E405-4EAD-94E6-65332326FFDE}"/>
                </a:ext>
              </a:extLst>
            </p:cNvPr>
            <p:cNvSpPr/>
            <p:nvPr/>
          </p:nvSpPr>
          <p:spPr>
            <a:xfrm>
              <a:off x="9968477" y="1797256"/>
              <a:ext cx="156716" cy="170254"/>
            </a:xfrm>
            <a:custGeom>
              <a:avLst/>
              <a:gdLst>
                <a:gd name="connsiteX0" fmla="*/ 156716 w 156716"/>
                <a:gd name="connsiteY0" fmla="*/ 16436 h 170254"/>
                <a:gd name="connsiteX1" fmla="*/ 126197 w 156716"/>
                <a:gd name="connsiteY1" fmla="*/ 3522 h 170254"/>
                <a:gd name="connsiteX2" fmla="*/ 101543 w 156716"/>
                <a:gd name="connsiteY2" fmla="*/ 0 h 170254"/>
                <a:gd name="connsiteX3" fmla="*/ 2932 w 156716"/>
                <a:gd name="connsiteY3" fmla="*/ 77495 h 170254"/>
                <a:gd name="connsiteX4" fmla="*/ 18195 w 156716"/>
                <a:gd name="connsiteY4" fmla="*/ 158511 h 170254"/>
                <a:gd name="connsiteX5" fmla="*/ 27584 w 156716"/>
                <a:gd name="connsiteY5" fmla="*/ 170255 h 170254"/>
                <a:gd name="connsiteX6" fmla="*/ 156716 w 156716"/>
                <a:gd name="connsiteY6" fmla="*/ 16436 h 170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716" h="170254">
                  <a:moveTo>
                    <a:pt x="156716" y="16436"/>
                  </a:moveTo>
                  <a:cubicBezTo>
                    <a:pt x="147327" y="10567"/>
                    <a:pt x="136761" y="5868"/>
                    <a:pt x="126197" y="3522"/>
                  </a:cubicBezTo>
                  <a:cubicBezTo>
                    <a:pt x="117976" y="1177"/>
                    <a:pt x="109763" y="0"/>
                    <a:pt x="101543" y="0"/>
                  </a:cubicBezTo>
                  <a:cubicBezTo>
                    <a:pt x="54583" y="0"/>
                    <a:pt x="14666" y="31702"/>
                    <a:pt x="2932" y="77495"/>
                  </a:cubicBezTo>
                  <a:cubicBezTo>
                    <a:pt x="-4113" y="106851"/>
                    <a:pt x="1755" y="136207"/>
                    <a:pt x="18195" y="158511"/>
                  </a:cubicBezTo>
                  <a:cubicBezTo>
                    <a:pt x="20541" y="162033"/>
                    <a:pt x="24062" y="166733"/>
                    <a:pt x="27584" y="170255"/>
                  </a:cubicBezTo>
                  <a:cubicBezTo>
                    <a:pt x="48707" y="103328"/>
                    <a:pt x="95669" y="48138"/>
                    <a:pt x="156716" y="16436"/>
                  </a:cubicBezTo>
                  <a:close/>
                </a:path>
              </a:pathLst>
            </a:custGeom>
            <a:solidFill>
              <a:srgbClr val="59B4D9">
                <a:alpha val="30000"/>
              </a:srgb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7A6328D6-CA6C-4B05-BB2D-53ADD0B4DDAA}"/>
                </a:ext>
              </a:extLst>
            </p:cNvPr>
            <p:cNvSpPr/>
            <p:nvPr/>
          </p:nvSpPr>
          <p:spPr>
            <a:xfrm>
              <a:off x="9823486" y="1753795"/>
              <a:ext cx="392185" cy="392186"/>
            </a:xfrm>
            <a:custGeom>
              <a:avLst/>
              <a:gdLst>
                <a:gd name="connsiteX0" fmla="*/ 370987 w 392185"/>
                <a:gd name="connsiteY0" fmla="*/ 70457 h 392186"/>
                <a:gd name="connsiteX1" fmla="*/ 281764 w 392185"/>
                <a:gd name="connsiteY1" fmla="*/ 4699 h 392186"/>
                <a:gd name="connsiteX2" fmla="*/ 246546 w 392185"/>
                <a:gd name="connsiteY2" fmla="*/ 0 h 392186"/>
                <a:gd name="connsiteX3" fmla="*/ 105663 w 392185"/>
                <a:gd name="connsiteY3" fmla="*/ 110373 h 392186"/>
                <a:gd name="connsiteX4" fmla="*/ 120928 w 392185"/>
                <a:gd name="connsiteY4" fmla="*/ 217224 h 392186"/>
                <a:gd name="connsiteX5" fmla="*/ 10566 w 392185"/>
                <a:gd name="connsiteY5" fmla="*/ 328782 h 392186"/>
                <a:gd name="connsiteX6" fmla="*/ 10566 w 392185"/>
                <a:gd name="connsiteY6" fmla="*/ 381619 h 392186"/>
                <a:gd name="connsiteX7" fmla="*/ 37564 w 392185"/>
                <a:gd name="connsiteY7" fmla="*/ 392186 h 392186"/>
                <a:gd name="connsiteX8" fmla="*/ 64562 w 392185"/>
                <a:gd name="connsiteY8" fmla="*/ 381619 h 392186"/>
                <a:gd name="connsiteX9" fmla="*/ 174916 w 392185"/>
                <a:gd name="connsiteY9" fmla="*/ 270069 h 392186"/>
                <a:gd name="connsiteX10" fmla="*/ 212488 w 392185"/>
                <a:gd name="connsiteY10" fmla="*/ 285335 h 392186"/>
                <a:gd name="connsiteX11" fmla="*/ 247706 w 392185"/>
                <a:gd name="connsiteY11" fmla="*/ 290034 h 392186"/>
                <a:gd name="connsiteX12" fmla="*/ 388588 w 392185"/>
                <a:gd name="connsiteY12" fmla="*/ 179662 h 392186"/>
                <a:gd name="connsiteX13" fmla="*/ 370987 w 392185"/>
                <a:gd name="connsiteY13" fmla="*/ 70457 h 392186"/>
                <a:gd name="connsiteX14" fmla="*/ 345157 w 392185"/>
                <a:gd name="connsiteY14" fmla="*/ 169094 h 392186"/>
                <a:gd name="connsiteX15" fmla="*/ 246546 w 392185"/>
                <a:gd name="connsiteY15" fmla="*/ 246588 h 392186"/>
                <a:gd name="connsiteX16" fmla="*/ 221892 w 392185"/>
                <a:gd name="connsiteY16" fmla="*/ 243066 h 392186"/>
                <a:gd name="connsiteX17" fmla="*/ 189020 w 392185"/>
                <a:gd name="connsiteY17" fmla="*/ 227799 h 392186"/>
                <a:gd name="connsiteX18" fmla="*/ 163189 w 392185"/>
                <a:gd name="connsiteY18" fmla="*/ 201965 h 392186"/>
                <a:gd name="connsiteX19" fmla="*/ 147926 w 392185"/>
                <a:gd name="connsiteY19" fmla="*/ 120949 h 392186"/>
                <a:gd name="connsiteX20" fmla="*/ 246537 w 392185"/>
                <a:gd name="connsiteY20" fmla="*/ 43454 h 392186"/>
                <a:gd name="connsiteX21" fmla="*/ 271191 w 392185"/>
                <a:gd name="connsiteY21" fmla="*/ 46977 h 392186"/>
                <a:gd name="connsiteX22" fmla="*/ 333415 w 392185"/>
                <a:gd name="connsiteY22" fmla="*/ 92768 h 392186"/>
                <a:gd name="connsiteX23" fmla="*/ 345157 w 392185"/>
                <a:gd name="connsiteY23" fmla="*/ 169094 h 392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185" h="392186">
                  <a:moveTo>
                    <a:pt x="370987" y="70457"/>
                  </a:moveTo>
                  <a:cubicBezTo>
                    <a:pt x="351032" y="37578"/>
                    <a:pt x="319328" y="14098"/>
                    <a:pt x="281764" y="4699"/>
                  </a:cubicBezTo>
                  <a:cubicBezTo>
                    <a:pt x="270022" y="2353"/>
                    <a:pt x="258287" y="0"/>
                    <a:pt x="246546" y="0"/>
                  </a:cubicBezTo>
                  <a:cubicBezTo>
                    <a:pt x="179630" y="0"/>
                    <a:pt x="122104" y="45792"/>
                    <a:pt x="105663" y="110373"/>
                  </a:cubicBezTo>
                  <a:cubicBezTo>
                    <a:pt x="96274" y="146774"/>
                    <a:pt x="102142" y="184344"/>
                    <a:pt x="120928" y="217224"/>
                  </a:cubicBezTo>
                  <a:lnTo>
                    <a:pt x="10566" y="328782"/>
                  </a:lnTo>
                  <a:cubicBezTo>
                    <a:pt x="-3522" y="342872"/>
                    <a:pt x="-3522" y="367529"/>
                    <a:pt x="10566" y="381619"/>
                  </a:cubicBezTo>
                  <a:cubicBezTo>
                    <a:pt x="18786" y="388663"/>
                    <a:pt x="28175" y="392186"/>
                    <a:pt x="37564" y="392186"/>
                  </a:cubicBezTo>
                  <a:cubicBezTo>
                    <a:pt x="46953" y="392186"/>
                    <a:pt x="56350" y="388663"/>
                    <a:pt x="64562" y="381619"/>
                  </a:cubicBezTo>
                  <a:lnTo>
                    <a:pt x="174916" y="270069"/>
                  </a:lnTo>
                  <a:cubicBezTo>
                    <a:pt x="186658" y="277113"/>
                    <a:pt x="199569" y="281813"/>
                    <a:pt x="212488" y="285335"/>
                  </a:cubicBezTo>
                  <a:cubicBezTo>
                    <a:pt x="224229" y="287681"/>
                    <a:pt x="235964" y="290034"/>
                    <a:pt x="247706" y="290034"/>
                  </a:cubicBezTo>
                  <a:cubicBezTo>
                    <a:pt x="314622" y="290034"/>
                    <a:pt x="372148" y="244242"/>
                    <a:pt x="388588" y="179662"/>
                  </a:cubicBezTo>
                  <a:cubicBezTo>
                    <a:pt x="396809" y="142083"/>
                    <a:pt x="390941" y="103336"/>
                    <a:pt x="370987" y="70457"/>
                  </a:cubicBezTo>
                  <a:close/>
                  <a:moveTo>
                    <a:pt x="345157" y="169094"/>
                  </a:moveTo>
                  <a:cubicBezTo>
                    <a:pt x="333415" y="214885"/>
                    <a:pt x="293498" y="246588"/>
                    <a:pt x="246546" y="246588"/>
                  </a:cubicBezTo>
                  <a:cubicBezTo>
                    <a:pt x="238325" y="246588"/>
                    <a:pt x="230112" y="245412"/>
                    <a:pt x="221892" y="243066"/>
                  </a:cubicBezTo>
                  <a:cubicBezTo>
                    <a:pt x="210150" y="239543"/>
                    <a:pt x="198416" y="234844"/>
                    <a:pt x="189020" y="227799"/>
                  </a:cubicBezTo>
                  <a:cubicBezTo>
                    <a:pt x="178454" y="220754"/>
                    <a:pt x="170233" y="211363"/>
                    <a:pt x="163189" y="201965"/>
                  </a:cubicBezTo>
                  <a:cubicBezTo>
                    <a:pt x="147926" y="178484"/>
                    <a:pt x="140882" y="150297"/>
                    <a:pt x="147926" y="120949"/>
                  </a:cubicBezTo>
                  <a:cubicBezTo>
                    <a:pt x="159668" y="75156"/>
                    <a:pt x="199584" y="43454"/>
                    <a:pt x="246537" y="43454"/>
                  </a:cubicBezTo>
                  <a:cubicBezTo>
                    <a:pt x="254757" y="43454"/>
                    <a:pt x="262970" y="44631"/>
                    <a:pt x="271191" y="46977"/>
                  </a:cubicBezTo>
                  <a:cubicBezTo>
                    <a:pt x="297020" y="54022"/>
                    <a:pt x="319328" y="69288"/>
                    <a:pt x="333415" y="92768"/>
                  </a:cubicBezTo>
                  <a:cubicBezTo>
                    <a:pt x="347503" y="116249"/>
                    <a:pt x="352201" y="143260"/>
                    <a:pt x="345157" y="169094"/>
                  </a:cubicBezTo>
                  <a:close/>
                </a:path>
              </a:pathLst>
            </a:custGeom>
            <a:solidFill>
              <a:schemeClr val="accent1">
                <a:lumMod val="75000"/>
              </a:scheme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958CE003-258A-4ED5-A9DF-387B3BEEC53B}"/>
                </a:ext>
              </a:extLst>
            </p:cNvPr>
            <p:cNvSpPr/>
            <p:nvPr/>
          </p:nvSpPr>
          <p:spPr>
            <a:xfrm>
              <a:off x="9933606" y="1971025"/>
              <a:ext cx="64797" cy="64581"/>
            </a:xfrm>
            <a:custGeom>
              <a:avLst/>
              <a:gdLst>
                <a:gd name="connsiteX0" fmla="*/ 54232 w 64797"/>
                <a:gd name="connsiteY0" fmla="*/ 46969 h 64581"/>
                <a:gd name="connsiteX1" fmla="*/ 16659 w 64797"/>
                <a:gd name="connsiteY1" fmla="*/ 9391 h 64581"/>
                <a:gd name="connsiteX2" fmla="*/ 10793 w 64797"/>
                <a:gd name="connsiteY2" fmla="*/ 0 h 64581"/>
                <a:gd name="connsiteX3" fmla="*/ 658 w 64797"/>
                <a:gd name="connsiteY3" fmla="*/ 10238 h 64581"/>
                <a:gd name="connsiteX4" fmla="*/ 0 w 64797"/>
                <a:gd name="connsiteY4" fmla="*/ 10905 h 64581"/>
                <a:gd name="connsiteX5" fmla="*/ 4917 w 64797"/>
                <a:gd name="connsiteY5" fmla="*/ 18789 h 64581"/>
                <a:gd name="connsiteX6" fmla="*/ 46011 w 64797"/>
                <a:gd name="connsiteY6" fmla="*/ 61059 h 64581"/>
                <a:gd name="connsiteX7" fmla="*/ 53180 w 64797"/>
                <a:gd name="connsiteY7" fmla="*/ 64582 h 64581"/>
                <a:gd name="connsiteX8" fmla="*/ 64797 w 64797"/>
                <a:gd name="connsiteY8" fmla="*/ 52837 h 64581"/>
                <a:gd name="connsiteX9" fmla="*/ 54232 w 64797"/>
                <a:gd name="connsiteY9" fmla="*/ 46969 h 6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797" h="64581">
                  <a:moveTo>
                    <a:pt x="54232" y="46969"/>
                  </a:moveTo>
                  <a:cubicBezTo>
                    <a:pt x="38967" y="36401"/>
                    <a:pt x="27234" y="24657"/>
                    <a:pt x="16659" y="9391"/>
                  </a:cubicBezTo>
                  <a:cubicBezTo>
                    <a:pt x="14315" y="5869"/>
                    <a:pt x="13138" y="3523"/>
                    <a:pt x="10793" y="0"/>
                  </a:cubicBezTo>
                  <a:lnTo>
                    <a:pt x="658" y="10238"/>
                  </a:lnTo>
                  <a:lnTo>
                    <a:pt x="0" y="10905"/>
                  </a:lnTo>
                  <a:cubicBezTo>
                    <a:pt x="1177" y="13250"/>
                    <a:pt x="2573" y="16435"/>
                    <a:pt x="4917" y="18789"/>
                  </a:cubicBezTo>
                  <a:cubicBezTo>
                    <a:pt x="16659" y="35225"/>
                    <a:pt x="29571" y="49315"/>
                    <a:pt x="46011" y="61059"/>
                  </a:cubicBezTo>
                  <a:cubicBezTo>
                    <a:pt x="47187" y="62235"/>
                    <a:pt x="49658" y="63404"/>
                    <a:pt x="53180" y="64582"/>
                  </a:cubicBezTo>
                  <a:lnTo>
                    <a:pt x="64797" y="52837"/>
                  </a:lnTo>
                  <a:cubicBezTo>
                    <a:pt x="60106" y="49315"/>
                    <a:pt x="57753" y="49315"/>
                    <a:pt x="54232" y="46969"/>
                  </a:cubicBezTo>
                  <a:close/>
                </a:path>
              </a:pathLst>
            </a:custGeom>
            <a:solidFill>
              <a:srgbClr val="1E1E1E">
                <a:alpha val="50000"/>
              </a:srgbClr>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F9C7D7EF-5EF7-4C7E-8DA0-BC8F120A1E6B}"/>
                </a:ext>
              </a:extLst>
            </p:cNvPr>
            <p:cNvSpPr/>
            <p:nvPr/>
          </p:nvSpPr>
          <p:spPr>
            <a:xfrm>
              <a:off x="10036029" y="1840388"/>
              <a:ext cx="86281" cy="114781"/>
            </a:xfrm>
            <a:custGeom>
              <a:avLst/>
              <a:gdLst>
                <a:gd name="connsiteX0" fmla="*/ 0 w 86281"/>
                <a:gd name="connsiteY0" fmla="*/ 0 h 114781"/>
                <a:gd name="connsiteX1" fmla="*/ 86282 w 86281"/>
                <a:gd name="connsiteY1" fmla="*/ 57395 h 114781"/>
                <a:gd name="connsiteX2" fmla="*/ 0 w 86281"/>
                <a:gd name="connsiteY2" fmla="*/ 114782 h 114781"/>
                <a:gd name="connsiteX3" fmla="*/ 0 w 86281"/>
                <a:gd name="connsiteY3" fmla="*/ 0 h 114781"/>
              </a:gdLst>
              <a:ahLst/>
              <a:cxnLst>
                <a:cxn ang="0">
                  <a:pos x="connsiteX0" y="connsiteY0"/>
                </a:cxn>
                <a:cxn ang="0">
                  <a:pos x="connsiteX1" y="connsiteY1"/>
                </a:cxn>
                <a:cxn ang="0">
                  <a:pos x="connsiteX2" y="connsiteY2"/>
                </a:cxn>
                <a:cxn ang="0">
                  <a:pos x="connsiteX3" y="connsiteY3"/>
                </a:cxn>
              </a:cxnLst>
              <a:rect l="l" t="t" r="r" b="b"/>
              <a:pathLst>
                <a:path w="86281" h="114781">
                  <a:moveTo>
                    <a:pt x="0" y="0"/>
                  </a:moveTo>
                  <a:lnTo>
                    <a:pt x="86282" y="57395"/>
                  </a:lnTo>
                  <a:lnTo>
                    <a:pt x="0" y="114782"/>
                  </a:lnTo>
                  <a:lnTo>
                    <a:pt x="0" y="0"/>
                  </a:lnTo>
                  <a:close/>
                </a:path>
              </a:pathLst>
            </a:custGeom>
            <a:solidFill>
              <a:srgbClr val="59B4D9"/>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 name="Group 1">
            <a:extLst>
              <a:ext uri="{FF2B5EF4-FFF2-40B4-BE49-F238E27FC236}">
                <a16:creationId xmlns:a16="http://schemas.microsoft.com/office/drawing/2014/main" id="{19C87379-3F93-468D-B6FF-414BE900518E}"/>
              </a:ext>
            </a:extLst>
          </p:cNvPr>
          <p:cNvGrpSpPr>
            <a:grpSpLocks noChangeAspect="1"/>
          </p:cNvGrpSpPr>
          <p:nvPr/>
        </p:nvGrpSpPr>
        <p:grpSpPr>
          <a:xfrm>
            <a:off x="6656110" y="3858143"/>
            <a:ext cx="326130" cy="344487"/>
            <a:chOff x="3778895" y="539838"/>
            <a:chExt cx="5288905" cy="5586594"/>
          </a:xfrm>
        </p:grpSpPr>
        <p:sp>
          <p:nvSpPr>
            <p:cNvPr id="111" name="Freeform: Shape 110">
              <a:extLst>
                <a:ext uri="{FF2B5EF4-FFF2-40B4-BE49-F238E27FC236}">
                  <a16:creationId xmlns:a16="http://schemas.microsoft.com/office/drawing/2014/main" id="{A2416329-ED21-4362-9EFF-3F31430668A9}"/>
                </a:ext>
              </a:extLst>
            </p:cNvPr>
            <p:cNvSpPr/>
            <p:nvPr/>
          </p:nvSpPr>
          <p:spPr bwMode="auto">
            <a:xfrm>
              <a:off x="3807487" y="4731642"/>
              <a:ext cx="5256129" cy="1364366"/>
            </a:xfrm>
            <a:custGeom>
              <a:avLst/>
              <a:gdLst>
                <a:gd name="connsiteX0" fmla="*/ 2122714 w 2277836"/>
                <a:gd name="connsiteY0" fmla="*/ 598714 h 598714"/>
                <a:gd name="connsiteX1" fmla="*/ 144236 w 2277836"/>
                <a:gd name="connsiteY1" fmla="*/ 598714 h 598714"/>
                <a:gd name="connsiteX2" fmla="*/ 0 w 2277836"/>
                <a:gd name="connsiteY2" fmla="*/ 0 h 598714"/>
                <a:gd name="connsiteX3" fmla="*/ 2277836 w 2277836"/>
                <a:gd name="connsiteY3" fmla="*/ 0 h 598714"/>
                <a:gd name="connsiteX4" fmla="*/ 2122714 w 2277836"/>
                <a:gd name="connsiteY4" fmla="*/ 598714 h 598714"/>
                <a:gd name="connsiteX0" fmla="*/ 2132773 w 2287895"/>
                <a:gd name="connsiteY0" fmla="*/ 598714 h 598714"/>
                <a:gd name="connsiteX1" fmla="*/ 154295 w 2287895"/>
                <a:gd name="connsiteY1" fmla="*/ 598714 h 598714"/>
                <a:gd name="connsiteX2" fmla="*/ 0 w 2287895"/>
                <a:gd name="connsiteY2" fmla="*/ 43268 h 598714"/>
                <a:gd name="connsiteX3" fmla="*/ 2287895 w 2287895"/>
                <a:gd name="connsiteY3" fmla="*/ 0 h 598714"/>
                <a:gd name="connsiteX4" fmla="*/ 2132773 w 2287895"/>
                <a:gd name="connsiteY4" fmla="*/ 598714 h 598714"/>
                <a:gd name="connsiteX0" fmla="*/ 2132773 w 2321424"/>
                <a:gd name="connsiteY0" fmla="*/ 555446 h 555446"/>
                <a:gd name="connsiteX1" fmla="*/ 154295 w 2321424"/>
                <a:gd name="connsiteY1" fmla="*/ 555446 h 555446"/>
                <a:gd name="connsiteX2" fmla="*/ 0 w 2321424"/>
                <a:gd name="connsiteY2" fmla="*/ 0 h 555446"/>
                <a:gd name="connsiteX3" fmla="*/ 2321424 w 2321424"/>
                <a:gd name="connsiteY3" fmla="*/ 21637 h 555446"/>
                <a:gd name="connsiteX4" fmla="*/ 2132773 w 2321424"/>
                <a:gd name="connsiteY4" fmla="*/ 555446 h 555446"/>
                <a:gd name="connsiteX0" fmla="*/ 2132773 w 2321424"/>
                <a:gd name="connsiteY0" fmla="*/ 555446 h 555446"/>
                <a:gd name="connsiteX1" fmla="*/ 154295 w 2321424"/>
                <a:gd name="connsiteY1" fmla="*/ 555446 h 555446"/>
                <a:gd name="connsiteX2" fmla="*/ 0 w 2321424"/>
                <a:gd name="connsiteY2" fmla="*/ 0 h 555446"/>
                <a:gd name="connsiteX3" fmla="*/ 2321424 w 2321424"/>
                <a:gd name="connsiteY3" fmla="*/ 9272 h 555446"/>
                <a:gd name="connsiteX4" fmla="*/ 2132773 w 2321424"/>
                <a:gd name="connsiteY4" fmla="*/ 555446 h 555446"/>
                <a:gd name="connsiteX0" fmla="*/ 2132774 w 2321424"/>
                <a:gd name="connsiteY0" fmla="*/ 555446 h 555446"/>
                <a:gd name="connsiteX1" fmla="*/ 154295 w 2321424"/>
                <a:gd name="connsiteY1" fmla="*/ 555446 h 555446"/>
                <a:gd name="connsiteX2" fmla="*/ 0 w 2321424"/>
                <a:gd name="connsiteY2" fmla="*/ 0 h 555446"/>
                <a:gd name="connsiteX3" fmla="*/ 2321424 w 2321424"/>
                <a:gd name="connsiteY3" fmla="*/ 9272 h 555446"/>
                <a:gd name="connsiteX4" fmla="*/ 2132774 w 2321424"/>
                <a:gd name="connsiteY4" fmla="*/ 555446 h 555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1424" h="555446">
                  <a:moveTo>
                    <a:pt x="2132774" y="555446"/>
                  </a:moveTo>
                  <a:lnTo>
                    <a:pt x="154295" y="555446"/>
                  </a:lnTo>
                  <a:lnTo>
                    <a:pt x="0" y="0"/>
                  </a:lnTo>
                  <a:lnTo>
                    <a:pt x="2321424" y="9272"/>
                  </a:lnTo>
                  <a:lnTo>
                    <a:pt x="2132774" y="555446"/>
                  </a:lnTo>
                  <a:close/>
                </a:path>
              </a:pathLst>
            </a:custGeom>
            <a:solidFill>
              <a:srgbClr val="153C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Freeform: Shape 111">
              <a:extLst>
                <a:ext uri="{FF2B5EF4-FFF2-40B4-BE49-F238E27FC236}">
                  <a16:creationId xmlns:a16="http://schemas.microsoft.com/office/drawing/2014/main" id="{D45405B1-BDD8-4545-A862-3BEDD5378B53}"/>
                </a:ext>
              </a:extLst>
            </p:cNvPr>
            <p:cNvSpPr/>
            <p:nvPr/>
          </p:nvSpPr>
          <p:spPr bwMode="auto">
            <a:xfrm>
              <a:off x="3778895" y="611998"/>
              <a:ext cx="3395182" cy="5490170"/>
            </a:xfrm>
            <a:custGeom>
              <a:avLst/>
              <a:gdLst>
                <a:gd name="connsiteX0" fmla="*/ 1453243 w 1453243"/>
                <a:gd name="connsiteY0" fmla="*/ 906235 h 2424792"/>
                <a:gd name="connsiteX1" fmla="*/ 1453243 w 1453243"/>
                <a:gd name="connsiteY1" fmla="*/ 0 h 2424792"/>
                <a:gd name="connsiteX2" fmla="*/ 846364 w 1453243"/>
                <a:gd name="connsiteY2" fmla="*/ 0 h 2424792"/>
                <a:gd name="connsiteX3" fmla="*/ 846364 w 1453243"/>
                <a:gd name="connsiteY3" fmla="*/ 911678 h 2424792"/>
                <a:gd name="connsiteX4" fmla="*/ 0 w 1453243"/>
                <a:gd name="connsiteY4" fmla="*/ 1758042 h 2424792"/>
                <a:gd name="connsiteX5" fmla="*/ 166007 w 1453243"/>
                <a:gd name="connsiteY5" fmla="*/ 2424792 h 2424792"/>
                <a:gd name="connsiteX6" fmla="*/ 1453243 w 1453243"/>
                <a:gd name="connsiteY6" fmla="*/ 906235 h 2424792"/>
                <a:gd name="connsiteX0" fmla="*/ 1453243 w 1453243"/>
                <a:gd name="connsiteY0" fmla="*/ 906235 h 2424792"/>
                <a:gd name="connsiteX1" fmla="*/ 1453243 w 1453243"/>
                <a:gd name="connsiteY1" fmla="*/ 0 h 2424792"/>
                <a:gd name="connsiteX2" fmla="*/ 846364 w 1453243"/>
                <a:gd name="connsiteY2" fmla="*/ 0 h 2424792"/>
                <a:gd name="connsiteX3" fmla="*/ 846364 w 1453243"/>
                <a:gd name="connsiteY3" fmla="*/ 911678 h 2424792"/>
                <a:gd name="connsiteX4" fmla="*/ 0 w 1453243"/>
                <a:gd name="connsiteY4" fmla="*/ 1820635 h 2424792"/>
                <a:gd name="connsiteX5" fmla="*/ 166007 w 1453243"/>
                <a:gd name="connsiteY5" fmla="*/ 2424792 h 2424792"/>
                <a:gd name="connsiteX6" fmla="*/ 1453243 w 1453243"/>
                <a:gd name="connsiteY6" fmla="*/ 906235 h 2424792"/>
                <a:gd name="connsiteX0" fmla="*/ 1447800 w 1447800"/>
                <a:gd name="connsiteY0" fmla="*/ 906235 h 2424792"/>
                <a:gd name="connsiteX1" fmla="*/ 1447800 w 1447800"/>
                <a:gd name="connsiteY1" fmla="*/ 0 h 2424792"/>
                <a:gd name="connsiteX2" fmla="*/ 840921 w 1447800"/>
                <a:gd name="connsiteY2" fmla="*/ 0 h 2424792"/>
                <a:gd name="connsiteX3" fmla="*/ 840921 w 1447800"/>
                <a:gd name="connsiteY3" fmla="*/ 911678 h 2424792"/>
                <a:gd name="connsiteX4" fmla="*/ 0 w 1447800"/>
                <a:gd name="connsiteY4" fmla="*/ 1839685 h 2424792"/>
                <a:gd name="connsiteX5" fmla="*/ 160564 w 1447800"/>
                <a:gd name="connsiteY5" fmla="*/ 2424792 h 2424792"/>
                <a:gd name="connsiteX6" fmla="*/ 1447800 w 1447800"/>
                <a:gd name="connsiteY6" fmla="*/ 906235 h 2424792"/>
                <a:gd name="connsiteX0" fmla="*/ 1447800 w 1447800"/>
                <a:gd name="connsiteY0" fmla="*/ 906235 h 2424792"/>
                <a:gd name="connsiteX1" fmla="*/ 1447800 w 1447800"/>
                <a:gd name="connsiteY1" fmla="*/ 0 h 2424792"/>
                <a:gd name="connsiteX2" fmla="*/ 840921 w 1447800"/>
                <a:gd name="connsiteY2" fmla="*/ 0 h 2424792"/>
                <a:gd name="connsiteX3" fmla="*/ 840921 w 1447800"/>
                <a:gd name="connsiteY3" fmla="*/ 911678 h 2424792"/>
                <a:gd name="connsiteX4" fmla="*/ 0 w 1447800"/>
                <a:gd name="connsiteY4" fmla="*/ 1839685 h 2424792"/>
                <a:gd name="connsiteX5" fmla="*/ 160564 w 1447800"/>
                <a:gd name="connsiteY5" fmla="*/ 2424792 h 2424792"/>
                <a:gd name="connsiteX6" fmla="*/ 1447800 w 1447800"/>
                <a:gd name="connsiteY6" fmla="*/ 906235 h 2424792"/>
                <a:gd name="connsiteX0" fmla="*/ 1455803 w 1455803"/>
                <a:gd name="connsiteY0" fmla="*/ 906235 h 2424792"/>
                <a:gd name="connsiteX1" fmla="*/ 1455803 w 1455803"/>
                <a:gd name="connsiteY1" fmla="*/ 0 h 2424792"/>
                <a:gd name="connsiteX2" fmla="*/ 848924 w 1455803"/>
                <a:gd name="connsiteY2" fmla="*/ 0 h 2424792"/>
                <a:gd name="connsiteX3" fmla="*/ 848924 w 1455803"/>
                <a:gd name="connsiteY3" fmla="*/ 911678 h 2424792"/>
                <a:gd name="connsiteX4" fmla="*/ 0 w 1455803"/>
                <a:gd name="connsiteY4" fmla="*/ 1826078 h 2424792"/>
                <a:gd name="connsiteX5" fmla="*/ 168567 w 1455803"/>
                <a:gd name="connsiteY5" fmla="*/ 2424792 h 2424792"/>
                <a:gd name="connsiteX6" fmla="*/ 1455803 w 1455803"/>
                <a:gd name="connsiteY6" fmla="*/ 906235 h 2424792"/>
                <a:gd name="connsiteX0" fmla="*/ 1455803 w 1455803"/>
                <a:gd name="connsiteY0" fmla="*/ 906235 h 2424792"/>
                <a:gd name="connsiteX1" fmla="*/ 1455803 w 1455803"/>
                <a:gd name="connsiteY1" fmla="*/ 0 h 2424792"/>
                <a:gd name="connsiteX2" fmla="*/ 848924 w 1455803"/>
                <a:gd name="connsiteY2" fmla="*/ 0 h 2424792"/>
                <a:gd name="connsiteX3" fmla="*/ 816911 w 1455803"/>
                <a:gd name="connsiteY3" fmla="*/ 911678 h 2424792"/>
                <a:gd name="connsiteX4" fmla="*/ 0 w 1455803"/>
                <a:gd name="connsiteY4" fmla="*/ 1826078 h 2424792"/>
                <a:gd name="connsiteX5" fmla="*/ 168567 w 1455803"/>
                <a:gd name="connsiteY5" fmla="*/ 2424792 h 2424792"/>
                <a:gd name="connsiteX6" fmla="*/ 1455803 w 1455803"/>
                <a:gd name="connsiteY6" fmla="*/ 906235 h 2424792"/>
                <a:gd name="connsiteX0" fmla="*/ 1455803 w 1455803"/>
                <a:gd name="connsiteY0" fmla="*/ 906235 h 2424792"/>
                <a:gd name="connsiteX1" fmla="*/ 1455803 w 1455803"/>
                <a:gd name="connsiteY1" fmla="*/ 0 h 2424792"/>
                <a:gd name="connsiteX2" fmla="*/ 824914 w 1455803"/>
                <a:gd name="connsiteY2" fmla="*/ 8164 h 2424792"/>
                <a:gd name="connsiteX3" fmla="*/ 816911 w 1455803"/>
                <a:gd name="connsiteY3" fmla="*/ 911678 h 2424792"/>
                <a:gd name="connsiteX4" fmla="*/ 0 w 1455803"/>
                <a:gd name="connsiteY4" fmla="*/ 1826078 h 2424792"/>
                <a:gd name="connsiteX5" fmla="*/ 168567 w 1455803"/>
                <a:gd name="connsiteY5" fmla="*/ 2424792 h 2424792"/>
                <a:gd name="connsiteX6" fmla="*/ 1455803 w 1455803"/>
                <a:gd name="connsiteY6" fmla="*/ 906235 h 2424792"/>
                <a:gd name="connsiteX0" fmla="*/ 1469142 w 1469142"/>
                <a:gd name="connsiteY0" fmla="*/ 941614 h 2424792"/>
                <a:gd name="connsiteX1" fmla="*/ 1455803 w 1469142"/>
                <a:gd name="connsiteY1" fmla="*/ 0 h 2424792"/>
                <a:gd name="connsiteX2" fmla="*/ 824914 w 1469142"/>
                <a:gd name="connsiteY2" fmla="*/ 8164 h 2424792"/>
                <a:gd name="connsiteX3" fmla="*/ 816911 w 1469142"/>
                <a:gd name="connsiteY3" fmla="*/ 911678 h 2424792"/>
                <a:gd name="connsiteX4" fmla="*/ 0 w 1469142"/>
                <a:gd name="connsiteY4" fmla="*/ 1826078 h 2424792"/>
                <a:gd name="connsiteX5" fmla="*/ 168567 w 1469142"/>
                <a:gd name="connsiteY5" fmla="*/ 2424792 h 2424792"/>
                <a:gd name="connsiteX6" fmla="*/ 1469142 w 1469142"/>
                <a:gd name="connsiteY6" fmla="*/ 941614 h 2424792"/>
                <a:gd name="connsiteX0" fmla="*/ 1469977 w 1469977"/>
                <a:gd name="connsiteY0" fmla="*/ 913498 h 2424792"/>
                <a:gd name="connsiteX1" fmla="*/ 1455803 w 1469977"/>
                <a:gd name="connsiteY1" fmla="*/ 0 h 2424792"/>
                <a:gd name="connsiteX2" fmla="*/ 824914 w 1469977"/>
                <a:gd name="connsiteY2" fmla="*/ 8164 h 2424792"/>
                <a:gd name="connsiteX3" fmla="*/ 816911 w 1469977"/>
                <a:gd name="connsiteY3" fmla="*/ 911678 h 2424792"/>
                <a:gd name="connsiteX4" fmla="*/ 0 w 1469977"/>
                <a:gd name="connsiteY4" fmla="*/ 1826078 h 2424792"/>
                <a:gd name="connsiteX5" fmla="*/ 168567 w 1469977"/>
                <a:gd name="connsiteY5" fmla="*/ 2424792 h 2424792"/>
                <a:gd name="connsiteX6" fmla="*/ 1469977 w 1469977"/>
                <a:gd name="connsiteY6" fmla="*/ 913498 h 2424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9977" h="2424792">
                  <a:moveTo>
                    <a:pt x="1469977" y="913498"/>
                  </a:moveTo>
                  <a:lnTo>
                    <a:pt x="1455803" y="0"/>
                  </a:lnTo>
                  <a:lnTo>
                    <a:pt x="824914" y="8164"/>
                  </a:lnTo>
                  <a:cubicBezTo>
                    <a:pt x="822246" y="309335"/>
                    <a:pt x="819579" y="610507"/>
                    <a:pt x="816911" y="911678"/>
                  </a:cubicBezTo>
                  <a:lnTo>
                    <a:pt x="0" y="1826078"/>
                  </a:lnTo>
                  <a:lnTo>
                    <a:pt x="168567" y="2424792"/>
                  </a:lnTo>
                  <a:lnTo>
                    <a:pt x="1469977" y="913498"/>
                  </a:lnTo>
                  <a:close/>
                </a:path>
              </a:pathLst>
            </a:custGeom>
            <a:gradFill flip="none" rotWithShape="1">
              <a:gsLst>
                <a:gs pos="0">
                  <a:srgbClr val="006DAA"/>
                </a:gs>
                <a:gs pos="50000">
                  <a:srgbClr val="0476B4"/>
                </a:gs>
                <a:gs pos="100000">
                  <a:srgbClr val="33A8E0"/>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Freeform: Shape 112">
              <a:extLst>
                <a:ext uri="{FF2B5EF4-FFF2-40B4-BE49-F238E27FC236}">
                  <a16:creationId xmlns:a16="http://schemas.microsoft.com/office/drawing/2014/main" id="{BAD1179B-2E37-44DF-B9D7-AE3B710EE80E}"/>
                </a:ext>
              </a:extLst>
            </p:cNvPr>
            <p:cNvSpPr/>
            <p:nvPr/>
          </p:nvSpPr>
          <p:spPr bwMode="auto">
            <a:xfrm>
              <a:off x="6584972" y="3095203"/>
              <a:ext cx="2482828" cy="3031229"/>
            </a:xfrm>
            <a:custGeom>
              <a:avLst/>
              <a:gdLst>
                <a:gd name="connsiteX0" fmla="*/ 922565 w 1085850"/>
                <a:gd name="connsiteY0" fmla="*/ 1309007 h 1309007"/>
                <a:gd name="connsiteX1" fmla="*/ 922565 w 1085850"/>
                <a:gd name="connsiteY1" fmla="*/ 1309007 h 1309007"/>
                <a:gd name="connsiteX2" fmla="*/ 1085850 w 1085850"/>
                <a:gd name="connsiteY2" fmla="*/ 732065 h 1309007"/>
                <a:gd name="connsiteX3" fmla="*/ 367393 w 1085850"/>
                <a:gd name="connsiteY3" fmla="*/ 0 h 1309007"/>
                <a:gd name="connsiteX4" fmla="*/ 0 w 1085850"/>
                <a:gd name="connsiteY4" fmla="*/ 443593 h 1309007"/>
                <a:gd name="connsiteX5" fmla="*/ 922565 w 1085850"/>
                <a:gd name="connsiteY5" fmla="*/ 1309007 h 1309007"/>
                <a:gd name="connsiteX0" fmla="*/ 0 w 1085850"/>
                <a:gd name="connsiteY0" fmla="*/ 443593 h 1309007"/>
                <a:gd name="connsiteX1" fmla="*/ 922565 w 1085850"/>
                <a:gd name="connsiteY1" fmla="*/ 1309007 h 1309007"/>
                <a:gd name="connsiteX2" fmla="*/ 1085850 w 1085850"/>
                <a:gd name="connsiteY2" fmla="*/ 732065 h 1309007"/>
                <a:gd name="connsiteX3" fmla="*/ 367393 w 1085850"/>
                <a:gd name="connsiteY3" fmla="*/ 0 h 1309007"/>
                <a:gd name="connsiteX4" fmla="*/ 0 w 1085850"/>
                <a:gd name="connsiteY4" fmla="*/ 443593 h 1309007"/>
                <a:gd name="connsiteX0" fmla="*/ 0 w 1085850"/>
                <a:gd name="connsiteY0" fmla="*/ 443593 h 1338773"/>
                <a:gd name="connsiteX1" fmla="*/ 910659 w 1085850"/>
                <a:gd name="connsiteY1" fmla="*/ 1338773 h 1338773"/>
                <a:gd name="connsiteX2" fmla="*/ 1085850 w 1085850"/>
                <a:gd name="connsiteY2" fmla="*/ 732065 h 1338773"/>
                <a:gd name="connsiteX3" fmla="*/ 367393 w 1085850"/>
                <a:gd name="connsiteY3" fmla="*/ 0 h 1338773"/>
                <a:gd name="connsiteX4" fmla="*/ 0 w 1085850"/>
                <a:gd name="connsiteY4" fmla="*/ 443593 h 1338773"/>
                <a:gd name="connsiteX0" fmla="*/ 0 w 1085850"/>
                <a:gd name="connsiteY0" fmla="*/ 443593 h 1338773"/>
                <a:gd name="connsiteX1" fmla="*/ 910659 w 1085850"/>
                <a:gd name="connsiteY1" fmla="*/ 1338773 h 1338773"/>
                <a:gd name="connsiteX2" fmla="*/ 1085850 w 1085850"/>
                <a:gd name="connsiteY2" fmla="*/ 732065 h 1338773"/>
                <a:gd name="connsiteX3" fmla="*/ 367393 w 1085850"/>
                <a:gd name="connsiteY3" fmla="*/ 0 h 1338773"/>
                <a:gd name="connsiteX4" fmla="*/ 0 w 1085850"/>
                <a:gd name="connsiteY4" fmla="*/ 443593 h 1338773"/>
                <a:gd name="connsiteX0" fmla="*/ 0 w 1096566"/>
                <a:gd name="connsiteY0" fmla="*/ 455500 h 1338773"/>
                <a:gd name="connsiteX1" fmla="*/ 921375 w 1096566"/>
                <a:gd name="connsiteY1" fmla="*/ 1338773 h 1338773"/>
                <a:gd name="connsiteX2" fmla="*/ 1096566 w 1096566"/>
                <a:gd name="connsiteY2" fmla="*/ 732065 h 1338773"/>
                <a:gd name="connsiteX3" fmla="*/ 378109 w 1096566"/>
                <a:gd name="connsiteY3" fmla="*/ 0 h 1338773"/>
                <a:gd name="connsiteX4" fmla="*/ 0 w 1096566"/>
                <a:gd name="connsiteY4" fmla="*/ 455500 h 1338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6566" h="1338773">
                  <a:moveTo>
                    <a:pt x="0" y="455500"/>
                  </a:moveTo>
                  <a:lnTo>
                    <a:pt x="921375" y="1338773"/>
                  </a:lnTo>
                  <a:lnTo>
                    <a:pt x="1096566" y="732065"/>
                  </a:lnTo>
                  <a:lnTo>
                    <a:pt x="378109" y="0"/>
                  </a:lnTo>
                  <a:lnTo>
                    <a:pt x="0" y="455500"/>
                  </a:lnTo>
                  <a:close/>
                </a:path>
              </a:pathLst>
            </a:custGeom>
            <a:solidFill>
              <a:srgbClr val="006DA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Freeform: Shape 113">
              <a:extLst>
                <a:ext uri="{FF2B5EF4-FFF2-40B4-BE49-F238E27FC236}">
                  <a16:creationId xmlns:a16="http://schemas.microsoft.com/office/drawing/2014/main" id="{C09B564F-A83D-48D3-B8AB-A68220BC17E6}"/>
                </a:ext>
              </a:extLst>
            </p:cNvPr>
            <p:cNvSpPr/>
            <p:nvPr/>
          </p:nvSpPr>
          <p:spPr bwMode="auto">
            <a:xfrm>
              <a:off x="5672594" y="539838"/>
              <a:ext cx="1499553" cy="2131982"/>
            </a:xfrm>
            <a:custGeom>
              <a:avLst/>
              <a:gdLst>
                <a:gd name="connsiteX0" fmla="*/ 1453243 w 1453243"/>
                <a:gd name="connsiteY0" fmla="*/ 906235 h 2424792"/>
                <a:gd name="connsiteX1" fmla="*/ 1453243 w 1453243"/>
                <a:gd name="connsiteY1" fmla="*/ 0 h 2424792"/>
                <a:gd name="connsiteX2" fmla="*/ 846364 w 1453243"/>
                <a:gd name="connsiteY2" fmla="*/ 0 h 2424792"/>
                <a:gd name="connsiteX3" fmla="*/ 846364 w 1453243"/>
                <a:gd name="connsiteY3" fmla="*/ 911678 h 2424792"/>
                <a:gd name="connsiteX4" fmla="*/ 0 w 1453243"/>
                <a:gd name="connsiteY4" fmla="*/ 1758042 h 2424792"/>
                <a:gd name="connsiteX5" fmla="*/ 166007 w 1453243"/>
                <a:gd name="connsiteY5" fmla="*/ 2424792 h 2424792"/>
                <a:gd name="connsiteX6" fmla="*/ 1453243 w 1453243"/>
                <a:gd name="connsiteY6" fmla="*/ 906235 h 2424792"/>
                <a:gd name="connsiteX0" fmla="*/ 1453243 w 1453243"/>
                <a:gd name="connsiteY0" fmla="*/ 906235 h 2424792"/>
                <a:gd name="connsiteX1" fmla="*/ 1453243 w 1453243"/>
                <a:gd name="connsiteY1" fmla="*/ 0 h 2424792"/>
                <a:gd name="connsiteX2" fmla="*/ 846364 w 1453243"/>
                <a:gd name="connsiteY2" fmla="*/ 0 h 2424792"/>
                <a:gd name="connsiteX3" fmla="*/ 846364 w 1453243"/>
                <a:gd name="connsiteY3" fmla="*/ 911678 h 2424792"/>
                <a:gd name="connsiteX4" fmla="*/ 0 w 1453243"/>
                <a:gd name="connsiteY4" fmla="*/ 1820635 h 2424792"/>
                <a:gd name="connsiteX5" fmla="*/ 166007 w 1453243"/>
                <a:gd name="connsiteY5" fmla="*/ 2424792 h 2424792"/>
                <a:gd name="connsiteX6" fmla="*/ 1453243 w 1453243"/>
                <a:gd name="connsiteY6" fmla="*/ 906235 h 2424792"/>
                <a:gd name="connsiteX0" fmla="*/ 1447800 w 1447800"/>
                <a:gd name="connsiteY0" fmla="*/ 906235 h 2424792"/>
                <a:gd name="connsiteX1" fmla="*/ 1447800 w 1447800"/>
                <a:gd name="connsiteY1" fmla="*/ 0 h 2424792"/>
                <a:gd name="connsiteX2" fmla="*/ 840921 w 1447800"/>
                <a:gd name="connsiteY2" fmla="*/ 0 h 2424792"/>
                <a:gd name="connsiteX3" fmla="*/ 840921 w 1447800"/>
                <a:gd name="connsiteY3" fmla="*/ 911678 h 2424792"/>
                <a:gd name="connsiteX4" fmla="*/ 0 w 1447800"/>
                <a:gd name="connsiteY4" fmla="*/ 1839685 h 2424792"/>
                <a:gd name="connsiteX5" fmla="*/ 160564 w 1447800"/>
                <a:gd name="connsiteY5" fmla="*/ 2424792 h 2424792"/>
                <a:gd name="connsiteX6" fmla="*/ 1447800 w 1447800"/>
                <a:gd name="connsiteY6" fmla="*/ 906235 h 2424792"/>
                <a:gd name="connsiteX0" fmla="*/ 1447800 w 1447800"/>
                <a:gd name="connsiteY0" fmla="*/ 906235 h 2424792"/>
                <a:gd name="connsiteX1" fmla="*/ 1447800 w 1447800"/>
                <a:gd name="connsiteY1" fmla="*/ 0 h 2424792"/>
                <a:gd name="connsiteX2" fmla="*/ 840921 w 1447800"/>
                <a:gd name="connsiteY2" fmla="*/ 0 h 2424792"/>
                <a:gd name="connsiteX3" fmla="*/ 840921 w 1447800"/>
                <a:gd name="connsiteY3" fmla="*/ 911678 h 2424792"/>
                <a:gd name="connsiteX4" fmla="*/ 0 w 1447800"/>
                <a:gd name="connsiteY4" fmla="*/ 1839685 h 2424792"/>
                <a:gd name="connsiteX5" fmla="*/ 160564 w 1447800"/>
                <a:gd name="connsiteY5" fmla="*/ 2424792 h 2424792"/>
                <a:gd name="connsiteX6" fmla="*/ 1447800 w 1447800"/>
                <a:gd name="connsiteY6" fmla="*/ 906235 h 2424792"/>
                <a:gd name="connsiteX0" fmla="*/ 1455803 w 1455803"/>
                <a:gd name="connsiteY0" fmla="*/ 906235 h 2424792"/>
                <a:gd name="connsiteX1" fmla="*/ 1455803 w 1455803"/>
                <a:gd name="connsiteY1" fmla="*/ 0 h 2424792"/>
                <a:gd name="connsiteX2" fmla="*/ 848924 w 1455803"/>
                <a:gd name="connsiteY2" fmla="*/ 0 h 2424792"/>
                <a:gd name="connsiteX3" fmla="*/ 848924 w 1455803"/>
                <a:gd name="connsiteY3" fmla="*/ 911678 h 2424792"/>
                <a:gd name="connsiteX4" fmla="*/ 0 w 1455803"/>
                <a:gd name="connsiteY4" fmla="*/ 1826078 h 2424792"/>
                <a:gd name="connsiteX5" fmla="*/ 168567 w 1455803"/>
                <a:gd name="connsiteY5" fmla="*/ 2424792 h 2424792"/>
                <a:gd name="connsiteX6" fmla="*/ 1455803 w 1455803"/>
                <a:gd name="connsiteY6" fmla="*/ 906235 h 2424792"/>
                <a:gd name="connsiteX0" fmla="*/ 1455803 w 1455803"/>
                <a:gd name="connsiteY0" fmla="*/ 906235 h 2424792"/>
                <a:gd name="connsiteX1" fmla="*/ 1455803 w 1455803"/>
                <a:gd name="connsiteY1" fmla="*/ 0 h 2424792"/>
                <a:gd name="connsiteX2" fmla="*/ 848924 w 1455803"/>
                <a:gd name="connsiteY2" fmla="*/ 0 h 2424792"/>
                <a:gd name="connsiteX3" fmla="*/ 816911 w 1455803"/>
                <a:gd name="connsiteY3" fmla="*/ 911678 h 2424792"/>
                <a:gd name="connsiteX4" fmla="*/ 0 w 1455803"/>
                <a:gd name="connsiteY4" fmla="*/ 1826078 h 2424792"/>
                <a:gd name="connsiteX5" fmla="*/ 168567 w 1455803"/>
                <a:gd name="connsiteY5" fmla="*/ 2424792 h 2424792"/>
                <a:gd name="connsiteX6" fmla="*/ 1455803 w 1455803"/>
                <a:gd name="connsiteY6" fmla="*/ 906235 h 2424792"/>
                <a:gd name="connsiteX0" fmla="*/ 1455803 w 1455803"/>
                <a:gd name="connsiteY0" fmla="*/ 906235 h 2424792"/>
                <a:gd name="connsiteX1" fmla="*/ 1455803 w 1455803"/>
                <a:gd name="connsiteY1" fmla="*/ 0 h 2424792"/>
                <a:gd name="connsiteX2" fmla="*/ 824914 w 1455803"/>
                <a:gd name="connsiteY2" fmla="*/ 8164 h 2424792"/>
                <a:gd name="connsiteX3" fmla="*/ 816911 w 1455803"/>
                <a:gd name="connsiteY3" fmla="*/ 911678 h 2424792"/>
                <a:gd name="connsiteX4" fmla="*/ 0 w 1455803"/>
                <a:gd name="connsiteY4" fmla="*/ 1826078 h 2424792"/>
                <a:gd name="connsiteX5" fmla="*/ 168567 w 1455803"/>
                <a:gd name="connsiteY5" fmla="*/ 2424792 h 2424792"/>
                <a:gd name="connsiteX6" fmla="*/ 1455803 w 1455803"/>
                <a:gd name="connsiteY6" fmla="*/ 906235 h 2424792"/>
                <a:gd name="connsiteX0" fmla="*/ 1469142 w 1469142"/>
                <a:gd name="connsiteY0" fmla="*/ 941614 h 2424792"/>
                <a:gd name="connsiteX1" fmla="*/ 1455803 w 1469142"/>
                <a:gd name="connsiteY1" fmla="*/ 0 h 2424792"/>
                <a:gd name="connsiteX2" fmla="*/ 824914 w 1469142"/>
                <a:gd name="connsiteY2" fmla="*/ 8164 h 2424792"/>
                <a:gd name="connsiteX3" fmla="*/ 816911 w 1469142"/>
                <a:gd name="connsiteY3" fmla="*/ 911678 h 2424792"/>
                <a:gd name="connsiteX4" fmla="*/ 0 w 1469142"/>
                <a:gd name="connsiteY4" fmla="*/ 1826078 h 2424792"/>
                <a:gd name="connsiteX5" fmla="*/ 168567 w 1469142"/>
                <a:gd name="connsiteY5" fmla="*/ 2424792 h 2424792"/>
                <a:gd name="connsiteX6" fmla="*/ 1469142 w 1469142"/>
                <a:gd name="connsiteY6" fmla="*/ 941614 h 2424792"/>
                <a:gd name="connsiteX0" fmla="*/ 1469142 w 1469142"/>
                <a:gd name="connsiteY0" fmla="*/ 941614 h 1826078"/>
                <a:gd name="connsiteX1" fmla="*/ 1455803 w 1469142"/>
                <a:gd name="connsiteY1" fmla="*/ 0 h 1826078"/>
                <a:gd name="connsiteX2" fmla="*/ 824914 w 1469142"/>
                <a:gd name="connsiteY2" fmla="*/ 8164 h 1826078"/>
                <a:gd name="connsiteX3" fmla="*/ 816911 w 1469142"/>
                <a:gd name="connsiteY3" fmla="*/ 911678 h 1826078"/>
                <a:gd name="connsiteX4" fmla="*/ 0 w 1469142"/>
                <a:gd name="connsiteY4" fmla="*/ 1826078 h 1826078"/>
                <a:gd name="connsiteX5" fmla="*/ 1469142 w 1469142"/>
                <a:gd name="connsiteY5" fmla="*/ 941614 h 1826078"/>
                <a:gd name="connsiteX0" fmla="*/ 652232 w 652232"/>
                <a:gd name="connsiteY0" fmla="*/ 941614 h 941613"/>
                <a:gd name="connsiteX1" fmla="*/ 638893 w 652232"/>
                <a:gd name="connsiteY1" fmla="*/ 0 h 941613"/>
                <a:gd name="connsiteX2" fmla="*/ 8004 w 652232"/>
                <a:gd name="connsiteY2" fmla="*/ 8164 h 941613"/>
                <a:gd name="connsiteX3" fmla="*/ 1 w 652232"/>
                <a:gd name="connsiteY3" fmla="*/ 911678 h 941613"/>
                <a:gd name="connsiteX4" fmla="*/ 652232 w 652232"/>
                <a:gd name="connsiteY4" fmla="*/ 941614 h 941613"/>
                <a:gd name="connsiteX0" fmla="*/ 652232 w 652232"/>
                <a:gd name="connsiteY0" fmla="*/ 941614 h 951293"/>
                <a:gd name="connsiteX1" fmla="*/ 638893 w 652232"/>
                <a:gd name="connsiteY1" fmla="*/ 0 h 951293"/>
                <a:gd name="connsiteX2" fmla="*/ 8004 w 652232"/>
                <a:gd name="connsiteY2" fmla="*/ 8164 h 951293"/>
                <a:gd name="connsiteX3" fmla="*/ 0 w 652232"/>
                <a:gd name="connsiteY3" fmla="*/ 951293 h 951293"/>
                <a:gd name="connsiteX4" fmla="*/ 652232 w 652232"/>
                <a:gd name="connsiteY4" fmla="*/ 941614 h 951293"/>
                <a:gd name="connsiteX0" fmla="*/ 649246 w 649246"/>
                <a:gd name="connsiteY0" fmla="*/ 941614 h 941613"/>
                <a:gd name="connsiteX1" fmla="*/ 635907 w 649246"/>
                <a:gd name="connsiteY1" fmla="*/ 0 h 941613"/>
                <a:gd name="connsiteX2" fmla="*/ 5018 w 649246"/>
                <a:gd name="connsiteY2" fmla="*/ 8164 h 941613"/>
                <a:gd name="connsiteX3" fmla="*/ 0 w 649246"/>
                <a:gd name="connsiteY3" fmla="*/ 920820 h 941613"/>
                <a:gd name="connsiteX4" fmla="*/ 649246 w 649246"/>
                <a:gd name="connsiteY4" fmla="*/ 941614 h 941613"/>
                <a:gd name="connsiteX0" fmla="*/ 649246 w 649246"/>
                <a:gd name="connsiteY0" fmla="*/ 941614 h 941613"/>
                <a:gd name="connsiteX1" fmla="*/ 635907 w 649246"/>
                <a:gd name="connsiteY1" fmla="*/ 0 h 941613"/>
                <a:gd name="connsiteX2" fmla="*/ 5018 w 649246"/>
                <a:gd name="connsiteY2" fmla="*/ 8164 h 941613"/>
                <a:gd name="connsiteX3" fmla="*/ 0 w 649246"/>
                <a:gd name="connsiteY3" fmla="*/ 936056 h 941613"/>
                <a:gd name="connsiteX4" fmla="*/ 649246 w 649246"/>
                <a:gd name="connsiteY4" fmla="*/ 941614 h 94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9246" h="941613">
                  <a:moveTo>
                    <a:pt x="649246" y="941614"/>
                  </a:moveTo>
                  <a:lnTo>
                    <a:pt x="635907" y="0"/>
                  </a:lnTo>
                  <a:lnTo>
                    <a:pt x="5018" y="8164"/>
                  </a:lnTo>
                  <a:cubicBezTo>
                    <a:pt x="2350" y="309335"/>
                    <a:pt x="2668" y="634885"/>
                    <a:pt x="0" y="936056"/>
                  </a:cubicBezTo>
                  <a:lnTo>
                    <a:pt x="649246" y="941614"/>
                  </a:lnTo>
                  <a:close/>
                </a:path>
              </a:pathLst>
            </a:custGeom>
            <a:gradFill flip="none" rotWithShape="1">
              <a:gsLst>
                <a:gs pos="0">
                  <a:srgbClr val="006DAA"/>
                </a:gs>
                <a:gs pos="50000">
                  <a:srgbClr val="0476B4"/>
                </a:gs>
                <a:gs pos="100000">
                  <a:srgbClr val="0C8BCA"/>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00464420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8EB5C60A-92FF-2946-ADA9-EBEA1A86D8FB}"/>
              </a:ext>
            </a:extLst>
          </p:cNvPr>
          <p:cNvSpPr/>
          <p:nvPr/>
        </p:nvSpPr>
        <p:spPr bwMode="auto">
          <a:xfrm>
            <a:off x="9379854" y="2528547"/>
            <a:ext cx="1869260" cy="4985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2000" b="0" i="0" u="none" strike="noStrike" kern="0" cap="none" spc="0" normalizeH="0" baseline="0" noProof="0">
                <a:ln>
                  <a:noFill/>
                </a:ln>
                <a:solidFill>
                  <a:srgbClr val="0078D4">
                    <a:lumMod val="60000"/>
                    <a:lumOff val="40000"/>
                  </a:srgbClr>
                </a:solidFill>
                <a:effectLst/>
                <a:uLnTx/>
                <a:uFillTx/>
                <a:latin typeface="Segoe UI Semibold"/>
                <a:ea typeface="+mn-ea"/>
                <a:cs typeface="+mn-cs"/>
              </a:rPr>
              <a:t>Web Search</a:t>
            </a:r>
          </a:p>
        </p:txBody>
      </p:sp>
      <p:sp>
        <p:nvSpPr>
          <p:cNvPr id="26" name="Rectangle 25">
            <a:extLst>
              <a:ext uri="{FF2B5EF4-FFF2-40B4-BE49-F238E27FC236}">
                <a16:creationId xmlns:a16="http://schemas.microsoft.com/office/drawing/2014/main" id="{DF30B3BD-27E2-4C45-B930-E0E4E0662743}"/>
              </a:ext>
            </a:extLst>
          </p:cNvPr>
          <p:cNvSpPr/>
          <p:nvPr/>
        </p:nvSpPr>
        <p:spPr bwMode="auto">
          <a:xfrm>
            <a:off x="5161370" y="2528547"/>
            <a:ext cx="1869260" cy="4985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2000" b="0" i="0" u="none" strike="noStrike" kern="0" cap="none" spc="0" normalizeH="0" baseline="0" noProof="0">
                <a:ln>
                  <a:noFill/>
                </a:ln>
                <a:solidFill>
                  <a:srgbClr val="0078D4">
                    <a:lumMod val="60000"/>
                    <a:lumOff val="40000"/>
                  </a:srgbClr>
                </a:solidFill>
                <a:effectLst/>
                <a:uLnTx/>
                <a:uFillTx/>
                <a:latin typeface="Segoe UI Semibold"/>
                <a:ea typeface="+mn-ea"/>
                <a:cs typeface="+mn-cs"/>
              </a:rPr>
              <a:t>Language</a:t>
            </a:r>
          </a:p>
        </p:txBody>
      </p:sp>
      <p:sp>
        <p:nvSpPr>
          <p:cNvPr id="30" name="Rectangle 29">
            <a:extLst>
              <a:ext uri="{FF2B5EF4-FFF2-40B4-BE49-F238E27FC236}">
                <a16:creationId xmlns:a16="http://schemas.microsoft.com/office/drawing/2014/main" id="{4F2638D3-1515-0A4A-9A6A-664D350D3A0C}"/>
              </a:ext>
            </a:extLst>
          </p:cNvPr>
          <p:cNvSpPr/>
          <p:nvPr/>
        </p:nvSpPr>
        <p:spPr bwMode="auto">
          <a:xfrm>
            <a:off x="1015475" y="2528547"/>
            <a:ext cx="1869259" cy="4985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2000" b="0" i="0" u="none" strike="noStrike" kern="0" cap="none" spc="0" normalizeH="0" baseline="0" noProof="0">
                <a:ln>
                  <a:noFill/>
                </a:ln>
                <a:solidFill>
                  <a:srgbClr val="0078D4">
                    <a:lumMod val="60000"/>
                    <a:lumOff val="40000"/>
                  </a:srgbClr>
                </a:solidFill>
                <a:effectLst/>
                <a:uLnTx/>
                <a:uFillTx/>
                <a:latin typeface="Segoe UI Semibold"/>
                <a:ea typeface="+mn-ea"/>
                <a:cs typeface="+mn-cs"/>
              </a:rPr>
              <a:t>Vision</a:t>
            </a:r>
          </a:p>
        </p:txBody>
      </p:sp>
      <p:sp>
        <p:nvSpPr>
          <p:cNvPr id="32" name="Rectangle 31">
            <a:extLst>
              <a:ext uri="{FF2B5EF4-FFF2-40B4-BE49-F238E27FC236}">
                <a16:creationId xmlns:a16="http://schemas.microsoft.com/office/drawing/2014/main" id="{C25934E4-11EF-1E4E-ABD4-F927EC755ED1}"/>
              </a:ext>
            </a:extLst>
          </p:cNvPr>
          <p:cNvSpPr/>
          <p:nvPr/>
        </p:nvSpPr>
        <p:spPr bwMode="auto">
          <a:xfrm>
            <a:off x="7239730" y="2528547"/>
            <a:ext cx="1869260" cy="4985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2000" b="0" i="0" u="none" strike="noStrike" kern="0" cap="none" spc="0" normalizeH="0" baseline="0" noProof="0">
                <a:ln>
                  <a:noFill/>
                </a:ln>
                <a:solidFill>
                  <a:srgbClr val="0078D4">
                    <a:lumMod val="60000"/>
                    <a:lumOff val="40000"/>
                  </a:srgbClr>
                </a:solidFill>
                <a:effectLst/>
                <a:uLnTx/>
                <a:uFillTx/>
                <a:latin typeface="Segoe UI Semibold"/>
                <a:ea typeface="+mn-ea"/>
                <a:cs typeface="+mn-cs"/>
              </a:rPr>
              <a:t>Decision</a:t>
            </a:r>
          </a:p>
        </p:txBody>
      </p:sp>
      <p:sp>
        <p:nvSpPr>
          <p:cNvPr id="51" name="Rectangle 50">
            <a:extLst>
              <a:ext uri="{FF2B5EF4-FFF2-40B4-BE49-F238E27FC236}">
                <a16:creationId xmlns:a16="http://schemas.microsoft.com/office/drawing/2014/main" id="{8872AE0C-97B1-A944-B47A-0B395C65698C}"/>
              </a:ext>
            </a:extLst>
          </p:cNvPr>
          <p:cNvSpPr/>
          <p:nvPr/>
        </p:nvSpPr>
        <p:spPr bwMode="auto">
          <a:xfrm>
            <a:off x="3173996" y="2528547"/>
            <a:ext cx="1869260" cy="4985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2000" b="0" i="0" u="none" strike="noStrike" kern="0" cap="none" spc="0" normalizeH="0" baseline="0" noProof="0">
                <a:ln>
                  <a:noFill/>
                </a:ln>
                <a:solidFill>
                  <a:srgbClr val="0078D4">
                    <a:lumMod val="60000"/>
                    <a:lumOff val="40000"/>
                  </a:srgbClr>
                </a:solidFill>
                <a:effectLst/>
                <a:uLnTx/>
                <a:uFillTx/>
                <a:latin typeface="Segoe UI Semibold"/>
                <a:ea typeface="+mn-ea"/>
                <a:cs typeface="+mn-cs"/>
              </a:rPr>
              <a:t>Speech</a:t>
            </a:r>
          </a:p>
        </p:txBody>
      </p:sp>
      <p:pic>
        <p:nvPicPr>
          <p:cNvPr id="61" name="Graphic 60">
            <a:extLst>
              <a:ext uri="{FF2B5EF4-FFF2-40B4-BE49-F238E27FC236}">
                <a16:creationId xmlns:a16="http://schemas.microsoft.com/office/drawing/2014/main" id="{36FB2DDE-90C2-7C49-A52A-E6785976101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43787" y="1402764"/>
            <a:ext cx="1412635" cy="1412635"/>
          </a:xfrm>
          <a:prstGeom prst="rect">
            <a:avLst/>
          </a:prstGeom>
        </p:spPr>
      </p:pic>
      <p:pic>
        <p:nvPicPr>
          <p:cNvPr id="65" name="Graphic 64">
            <a:extLst>
              <a:ext uri="{FF2B5EF4-FFF2-40B4-BE49-F238E27FC236}">
                <a16:creationId xmlns:a16="http://schemas.microsoft.com/office/drawing/2014/main" id="{BBC7B6C5-20FC-C540-8B10-0D47D410F52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66519" y="1466974"/>
            <a:ext cx="1284214" cy="1284214"/>
          </a:xfrm>
          <a:prstGeom prst="rect">
            <a:avLst/>
          </a:prstGeom>
        </p:spPr>
      </p:pic>
      <p:pic>
        <p:nvPicPr>
          <p:cNvPr id="69" name="Graphic 68">
            <a:extLst>
              <a:ext uri="{FF2B5EF4-FFF2-40B4-BE49-F238E27FC236}">
                <a16:creationId xmlns:a16="http://schemas.microsoft.com/office/drawing/2014/main" id="{BA046ABA-A458-C440-AD3A-ADBF5CA37FF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512267" y="1525348"/>
            <a:ext cx="1167467" cy="1167467"/>
          </a:xfrm>
          <a:prstGeom prst="rect">
            <a:avLst/>
          </a:prstGeom>
        </p:spPr>
      </p:pic>
      <p:pic>
        <p:nvPicPr>
          <p:cNvPr id="73" name="Graphic 72">
            <a:extLst>
              <a:ext uri="{FF2B5EF4-FFF2-40B4-BE49-F238E27FC236}">
                <a16:creationId xmlns:a16="http://schemas.microsoft.com/office/drawing/2014/main" id="{E144735F-8263-684B-BEF2-36BC65D8562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75663" y="1735302"/>
            <a:ext cx="797395" cy="747558"/>
          </a:xfrm>
          <a:prstGeom prst="rect">
            <a:avLst/>
          </a:prstGeom>
        </p:spPr>
      </p:pic>
      <p:pic>
        <p:nvPicPr>
          <p:cNvPr id="77" name="Picture 76">
            <a:extLst>
              <a:ext uri="{FF2B5EF4-FFF2-40B4-BE49-F238E27FC236}">
                <a16:creationId xmlns:a16="http://schemas.microsoft.com/office/drawing/2014/main" id="{BAFB7C98-53D1-4649-BBAF-ACC0BF2E869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970020" y="1764617"/>
            <a:ext cx="688928" cy="688928"/>
          </a:xfrm>
          <a:prstGeom prst="rect">
            <a:avLst/>
          </a:prstGeom>
        </p:spPr>
      </p:pic>
      <p:sp>
        <p:nvSpPr>
          <p:cNvPr id="70" name="Rectangle 69">
            <a:extLst>
              <a:ext uri="{FF2B5EF4-FFF2-40B4-BE49-F238E27FC236}">
                <a16:creationId xmlns:a16="http://schemas.microsoft.com/office/drawing/2014/main" id="{2C370F04-AAD4-FF4C-8AF5-6FA97A88B67E}"/>
              </a:ext>
            </a:extLst>
          </p:cNvPr>
          <p:cNvSpPr/>
          <p:nvPr/>
        </p:nvSpPr>
        <p:spPr bwMode="auto">
          <a:xfrm>
            <a:off x="9512509" y="3429484"/>
            <a:ext cx="1828800" cy="3657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9630" tIns="44808" rIns="0" bIns="44808" numCol="1" spcCol="0" rtlCol="0" fromWordArt="0" anchor="ctr" anchorCtr="0" forceAA="0" compatLnSpc="1">
            <a:prstTxWarp prst="textNoShape">
              <a:avLst/>
            </a:prstTxWarp>
            <a:noAutofit/>
          </a:bodyPr>
          <a:lstStyle/>
          <a:p>
            <a:pPr marL="0" marR="0" lvl="0" indent="0" algn="l" defTabSz="860733"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mn-cs"/>
              </a:rPr>
              <a:t>Bing Autosuggest </a:t>
            </a:r>
          </a:p>
        </p:txBody>
      </p:sp>
      <p:sp>
        <p:nvSpPr>
          <p:cNvPr id="71" name="Rectangle 70">
            <a:extLst>
              <a:ext uri="{FF2B5EF4-FFF2-40B4-BE49-F238E27FC236}">
                <a16:creationId xmlns:a16="http://schemas.microsoft.com/office/drawing/2014/main" id="{2C264AF9-3F65-1043-88F0-CFE56612F2F8}"/>
              </a:ext>
            </a:extLst>
          </p:cNvPr>
          <p:cNvSpPr/>
          <p:nvPr/>
        </p:nvSpPr>
        <p:spPr bwMode="auto">
          <a:xfrm>
            <a:off x="9505439" y="4891294"/>
            <a:ext cx="1828800" cy="3657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9630" tIns="44808" rIns="0" bIns="44808" numCol="1" spcCol="0" rtlCol="0" fromWordArt="0" anchor="ctr" anchorCtr="0" forceAA="0" compatLnSpc="1">
            <a:prstTxWarp prst="textNoShape">
              <a:avLst/>
            </a:prstTxWarp>
            <a:noAutofit/>
          </a:bodyPr>
          <a:lstStyle/>
          <a:p>
            <a:pPr marL="0" marR="0" lvl="0" indent="0" algn="l" defTabSz="860733"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mn-cs"/>
              </a:rPr>
              <a:t>Bing Web Search</a:t>
            </a:r>
          </a:p>
        </p:txBody>
      </p:sp>
      <p:sp>
        <p:nvSpPr>
          <p:cNvPr id="72" name="Rectangle 71">
            <a:extLst>
              <a:ext uri="{FF2B5EF4-FFF2-40B4-BE49-F238E27FC236}">
                <a16:creationId xmlns:a16="http://schemas.microsoft.com/office/drawing/2014/main" id="{DF0AEF26-2865-8841-B5B4-C3BD82246159}"/>
              </a:ext>
            </a:extLst>
          </p:cNvPr>
          <p:cNvSpPr/>
          <p:nvPr/>
        </p:nvSpPr>
        <p:spPr bwMode="auto">
          <a:xfrm>
            <a:off x="9505439" y="4160389"/>
            <a:ext cx="1828800" cy="3657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9630" tIns="44808" rIns="0" bIns="44808" numCol="1" spcCol="0" rtlCol="0" fromWordArt="0" anchor="ctr" anchorCtr="0" forceAA="0" compatLnSpc="1">
            <a:prstTxWarp prst="textNoShape">
              <a:avLst/>
            </a:prstTxWarp>
            <a:noAutofit/>
          </a:bodyPr>
          <a:lstStyle/>
          <a:p>
            <a:pPr marL="0" marR="0" lvl="0" indent="0" algn="l" defTabSz="860733"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mn-cs"/>
              </a:rPr>
              <a:t>Bing Entity Search </a:t>
            </a:r>
          </a:p>
        </p:txBody>
      </p:sp>
      <p:sp>
        <p:nvSpPr>
          <p:cNvPr id="76" name="Rectangle 75">
            <a:extLst>
              <a:ext uri="{FF2B5EF4-FFF2-40B4-BE49-F238E27FC236}">
                <a16:creationId xmlns:a16="http://schemas.microsoft.com/office/drawing/2014/main" id="{2EF9962C-0BCE-F849-A9B2-15C2C185119E}"/>
              </a:ext>
            </a:extLst>
          </p:cNvPr>
          <p:cNvSpPr/>
          <p:nvPr/>
        </p:nvSpPr>
        <p:spPr bwMode="auto">
          <a:xfrm>
            <a:off x="9505439" y="3795039"/>
            <a:ext cx="1828800" cy="3657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9630" tIns="44808" rIns="0" bIns="44808" numCol="1" spcCol="0" rtlCol="0" fromWordArt="0" anchor="ctr" anchorCtr="0" forceAA="0" compatLnSpc="1">
            <a:prstTxWarp prst="textNoShape">
              <a:avLst/>
            </a:prstTxWarp>
            <a:noAutofit/>
          </a:bodyPr>
          <a:lstStyle/>
          <a:p>
            <a:pPr marL="0" marR="0" lvl="0" indent="0" algn="l" defTabSz="860733"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mn-cs"/>
              </a:rPr>
              <a:t>Bing Custom Search</a:t>
            </a:r>
          </a:p>
        </p:txBody>
      </p:sp>
      <p:sp>
        <p:nvSpPr>
          <p:cNvPr id="81" name="Rectangle 80">
            <a:extLst>
              <a:ext uri="{FF2B5EF4-FFF2-40B4-BE49-F238E27FC236}">
                <a16:creationId xmlns:a16="http://schemas.microsoft.com/office/drawing/2014/main" id="{7F69984E-7A1B-C844-9570-06E9BB3715B6}"/>
              </a:ext>
            </a:extLst>
          </p:cNvPr>
          <p:cNvSpPr/>
          <p:nvPr/>
        </p:nvSpPr>
        <p:spPr bwMode="auto">
          <a:xfrm>
            <a:off x="7452862" y="3794152"/>
            <a:ext cx="1828800" cy="3675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44814" rIns="0" bIns="44814" numCol="1" spcCol="0" rtlCol="0" fromWordArt="0" anchor="ctr" anchorCtr="0" forceAA="0" compatLnSpc="1">
            <a:prstTxWarp prst="textNoShape">
              <a:avLst/>
            </a:prstTxWarp>
            <a:noAutofit/>
          </a:bodyPr>
          <a:lstStyle/>
          <a:p>
            <a:pPr marL="0" marR="0" lvl="0" indent="0" algn="l" defTabSz="860898"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mn-cs"/>
              </a:rPr>
              <a:t>Content Moderator</a:t>
            </a:r>
          </a:p>
        </p:txBody>
      </p:sp>
      <p:sp>
        <p:nvSpPr>
          <p:cNvPr id="82" name="Rectangle 81">
            <a:extLst>
              <a:ext uri="{FF2B5EF4-FFF2-40B4-BE49-F238E27FC236}">
                <a16:creationId xmlns:a16="http://schemas.microsoft.com/office/drawing/2014/main" id="{0C513AA3-EF40-6746-B0FE-3B6DEB2452E8}"/>
              </a:ext>
            </a:extLst>
          </p:cNvPr>
          <p:cNvSpPr/>
          <p:nvPr/>
        </p:nvSpPr>
        <p:spPr bwMode="auto">
          <a:xfrm>
            <a:off x="7452862" y="3428597"/>
            <a:ext cx="1828800" cy="3675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44814" rIns="0" bIns="44814" numCol="1" spcCol="0" rtlCol="0" fromWordArt="0" anchor="ctr" anchorCtr="0" forceAA="0" compatLnSpc="1">
            <a:prstTxWarp prst="textNoShape">
              <a:avLst/>
            </a:prstTxWarp>
            <a:noAutofit/>
          </a:bodyPr>
          <a:lstStyle/>
          <a:p>
            <a:pPr marL="0" marR="0" lvl="0" indent="0" algn="l" defTabSz="860898"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mn-cs"/>
              </a:rPr>
              <a:t>Anomaly Detector</a:t>
            </a:r>
          </a:p>
        </p:txBody>
      </p:sp>
      <p:sp>
        <p:nvSpPr>
          <p:cNvPr id="83" name="Rectangle 82">
            <a:extLst>
              <a:ext uri="{FF2B5EF4-FFF2-40B4-BE49-F238E27FC236}">
                <a16:creationId xmlns:a16="http://schemas.microsoft.com/office/drawing/2014/main" id="{2C5DEFB9-B6BB-3C4D-B63E-DBDC5DF2CA90}"/>
              </a:ext>
            </a:extLst>
          </p:cNvPr>
          <p:cNvSpPr/>
          <p:nvPr/>
        </p:nvSpPr>
        <p:spPr bwMode="auto">
          <a:xfrm>
            <a:off x="7452862" y="4167978"/>
            <a:ext cx="1828800" cy="3675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44814" rIns="0" bIns="44814" numCol="1" spcCol="0" rtlCol="0" fromWordArt="0" anchor="ctr" anchorCtr="0" forceAA="0" compatLnSpc="1">
            <a:prstTxWarp prst="textNoShape">
              <a:avLst/>
            </a:prstTxWarp>
            <a:noAutofit/>
          </a:bodyPr>
          <a:lstStyle/>
          <a:p>
            <a:pPr marL="0" marR="0" lvl="0" indent="0" algn="l" defTabSz="860898"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mn-cs"/>
              </a:rPr>
              <a:t>Personalizer</a:t>
            </a:r>
          </a:p>
        </p:txBody>
      </p:sp>
      <p:sp>
        <p:nvSpPr>
          <p:cNvPr id="84" name="Rectangle 83">
            <a:extLst>
              <a:ext uri="{FF2B5EF4-FFF2-40B4-BE49-F238E27FC236}">
                <a16:creationId xmlns:a16="http://schemas.microsoft.com/office/drawing/2014/main" id="{7391D75C-84FC-2F44-AD77-1581B87A3F3A}"/>
              </a:ext>
            </a:extLst>
          </p:cNvPr>
          <p:cNvSpPr/>
          <p:nvPr/>
        </p:nvSpPr>
        <p:spPr bwMode="auto">
          <a:xfrm>
            <a:off x="5164759" y="3796197"/>
            <a:ext cx="2103120" cy="3675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44808" rIns="0" bIns="44808" numCol="1" spcCol="0" rtlCol="0" fromWordArt="0" anchor="ctr" anchorCtr="0" forceAA="0" compatLnSpc="1">
            <a:prstTxWarp prst="textNoShape">
              <a:avLst/>
            </a:prstTxWarp>
            <a:noAutofit/>
          </a:bodyPr>
          <a:lstStyle/>
          <a:p>
            <a:pPr marL="0" marR="0" lvl="0" indent="0" algn="l" defTabSz="860733"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mn-cs"/>
              </a:rPr>
              <a:t>Language Understanding</a:t>
            </a:r>
          </a:p>
        </p:txBody>
      </p:sp>
      <p:sp>
        <p:nvSpPr>
          <p:cNvPr id="85" name="Rectangle 84">
            <a:extLst>
              <a:ext uri="{FF2B5EF4-FFF2-40B4-BE49-F238E27FC236}">
                <a16:creationId xmlns:a16="http://schemas.microsoft.com/office/drawing/2014/main" id="{86075532-075E-3340-901B-2D3DACAF8816}"/>
              </a:ext>
            </a:extLst>
          </p:cNvPr>
          <p:cNvSpPr/>
          <p:nvPr/>
        </p:nvSpPr>
        <p:spPr bwMode="auto">
          <a:xfrm>
            <a:off x="5164759" y="4166279"/>
            <a:ext cx="1828800" cy="3675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9630" tIns="44808" rIns="0" bIns="44808" numCol="1" spcCol="0" rtlCol="0" fromWordArt="0" anchor="ctr" anchorCtr="0" forceAA="0" compatLnSpc="1">
            <a:prstTxWarp prst="textNoShape">
              <a:avLst/>
            </a:prstTxWarp>
            <a:noAutofit/>
          </a:bodyPr>
          <a:lstStyle/>
          <a:p>
            <a:pPr marL="0" marR="0" lvl="0" indent="0" algn="l" defTabSz="860733"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mn-cs"/>
              </a:rPr>
              <a:t>Text Analytics </a:t>
            </a:r>
          </a:p>
        </p:txBody>
      </p:sp>
      <p:sp>
        <p:nvSpPr>
          <p:cNvPr id="86" name="Rectangle 85">
            <a:extLst>
              <a:ext uri="{FF2B5EF4-FFF2-40B4-BE49-F238E27FC236}">
                <a16:creationId xmlns:a16="http://schemas.microsoft.com/office/drawing/2014/main" id="{5419D8D4-E1B0-8146-BDF5-E603568F4182}"/>
              </a:ext>
            </a:extLst>
          </p:cNvPr>
          <p:cNvSpPr/>
          <p:nvPr/>
        </p:nvSpPr>
        <p:spPr bwMode="auto">
          <a:xfrm>
            <a:off x="9505439" y="4525944"/>
            <a:ext cx="1828800" cy="3657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9630" tIns="44808" rIns="0" bIns="44808" numCol="1" spcCol="0" rtlCol="0" fromWordArt="0" anchor="ctr" anchorCtr="0" forceAA="0" compatLnSpc="1">
            <a:prstTxWarp prst="textNoShape">
              <a:avLst/>
            </a:prstTxWarp>
            <a:noAutofit/>
          </a:bodyPr>
          <a:lstStyle/>
          <a:p>
            <a:pPr marL="0" marR="0" lvl="0" indent="0" algn="l" defTabSz="860733"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mn-cs"/>
              </a:rPr>
              <a:t>Bing Spell Check </a:t>
            </a:r>
          </a:p>
        </p:txBody>
      </p:sp>
      <p:sp>
        <p:nvSpPr>
          <p:cNvPr id="87" name="Rectangle 86">
            <a:extLst>
              <a:ext uri="{FF2B5EF4-FFF2-40B4-BE49-F238E27FC236}">
                <a16:creationId xmlns:a16="http://schemas.microsoft.com/office/drawing/2014/main" id="{2DA2A3EB-08F2-CE4C-BA45-0CE33D79EEB2}"/>
              </a:ext>
            </a:extLst>
          </p:cNvPr>
          <p:cNvSpPr/>
          <p:nvPr/>
        </p:nvSpPr>
        <p:spPr bwMode="auto">
          <a:xfrm>
            <a:off x="5164759" y="4534203"/>
            <a:ext cx="1828800" cy="3675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9630" tIns="44808" rIns="0" bIns="44808" numCol="1" spcCol="0" rtlCol="0" fromWordArt="0" anchor="ctr" anchorCtr="0" forceAA="0" compatLnSpc="1">
            <a:prstTxWarp prst="textNoShape">
              <a:avLst/>
            </a:prstTxWarp>
            <a:noAutofit/>
          </a:bodyPr>
          <a:lstStyle/>
          <a:p>
            <a:pPr marL="0" marR="0" lvl="0" indent="0" algn="l" defTabSz="860733"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mn-cs"/>
              </a:rPr>
              <a:t>Translator Text </a:t>
            </a:r>
          </a:p>
        </p:txBody>
      </p:sp>
      <p:sp>
        <p:nvSpPr>
          <p:cNvPr id="88" name="Rectangle 87">
            <a:extLst>
              <a:ext uri="{FF2B5EF4-FFF2-40B4-BE49-F238E27FC236}">
                <a16:creationId xmlns:a16="http://schemas.microsoft.com/office/drawing/2014/main" id="{E9F17183-2B22-C74A-9365-EF3081681755}"/>
              </a:ext>
            </a:extLst>
          </p:cNvPr>
          <p:cNvSpPr/>
          <p:nvPr/>
        </p:nvSpPr>
        <p:spPr bwMode="auto">
          <a:xfrm>
            <a:off x="5164759" y="4903237"/>
            <a:ext cx="1828800" cy="3675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44808" rIns="0" bIns="44808" numCol="1" spcCol="0" rtlCol="0" fromWordArt="0" anchor="ctr" anchorCtr="0" forceAA="0" compatLnSpc="1">
            <a:prstTxWarp prst="textNoShape">
              <a:avLst/>
            </a:prstTxWarp>
            <a:noAutofit/>
          </a:bodyPr>
          <a:lstStyle/>
          <a:p>
            <a:pPr marL="0" marR="0" lvl="0" indent="0" algn="l" defTabSz="860733"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err="1">
                <a:ln>
                  <a:noFill/>
                </a:ln>
                <a:solidFill>
                  <a:srgbClr val="FFFFFF"/>
                </a:solidFill>
                <a:effectLst/>
                <a:uLnTx/>
                <a:uFillTx/>
                <a:latin typeface="Segoe UI"/>
                <a:ea typeface="+mn-ea"/>
                <a:cs typeface="+mn-cs"/>
              </a:rPr>
              <a:t>QnA</a:t>
            </a:r>
            <a:r>
              <a:rPr kumimoji="0" lang="en-US" sz="1400" b="0" i="0" u="none" strike="noStrike" kern="0" cap="none" spc="0" normalizeH="0" baseline="0" noProof="0">
                <a:ln>
                  <a:noFill/>
                </a:ln>
                <a:solidFill>
                  <a:srgbClr val="FFFFFF"/>
                </a:solidFill>
                <a:effectLst/>
                <a:uLnTx/>
                <a:uFillTx/>
                <a:latin typeface="Segoe UI"/>
                <a:ea typeface="+mn-ea"/>
                <a:cs typeface="+mn-cs"/>
              </a:rPr>
              <a:t> Maker</a:t>
            </a:r>
          </a:p>
        </p:txBody>
      </p:sp>
      <p:sp>
        <p:nvSpPr>
          <p:cNvPr id="89" name="Rectangle 88">
            <a:extLst>
              <a:ext uri="{FF2B5EF4-FFF2-40B4-BE49-F238E27FC236}">
                <a16:creationId xmlns:a16="http://schemas.microsoft.com/office/drawing/2014/main" id="{E7B9CDAC-3005-0F42-A19F-5D2D452057DD}"/>
              </a:ext>
            </a:extLst>
          </p:cNvPr>
          <p:cNvSpPr/>
          <p:nvPr/>
        </p:nvSpPr>
        <p:spPr bwMode="auto">
          <a:xfrm>
            <a:off x="3171712" y="3429484"/>
            <a:ext cx="1828800" cy="3657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l" defTabSz="860733"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mn-cs"/>
              </a:rPr>
              <a:t>Speaker Recognition </a:t>
            </a:r>
          </a:p>
        </p:txBody>
      </p:sp>
      <p:sp>
        <p:nvSpPr>
          <p:cNvPr id="90" name="Rectangle 89">
            <a:extLst>
              <a:ext uri="{FF2B5EF4-FFF2-40B4-BE49-F238E27FC236}">
                <a16:creationId xmlns:a16="http://schemas.microsoft.com/office/drawing/2014/main" id="{50B00EA4-C8CB-6546-9172-9FF3FA20693F}"/>
              </a:ext>
            </a:extLst>
          </p:cNvPr>
          <p:cNvSpPr/>
          <p:nvPr/>
        </p:nvSpPr>
        <p:spPr bwMode="auto">
          <a:xfrm>
            <a:off x="3158047" y="3794152"/>
            <a:ext cx="1828800" cy="3675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l" defTabSz="860733"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mn-cs"/>
              </a:rPr>
              <a:t>Speech</a:t>
            </a:r>
          </a:p>
        </p:txBody>
      </p:sp>
      <p:sp>
        <p:nvSpPr>
          <p:cNvPr id="91" name="Rectangle 90">
            <a:extLst>
              <a:ext uri="{FF2B5EF4-FFF2-40B4-BE49-F238E27FC236}">
                <a16:creationId xmlns:a16="http://schemas.microsoft.com/office/drawing/2014/main" id="{A7C01FD1-783B-6D40-9BA1-40DCA12F6AAA}"/>
              </a:ext>
            </a:extLst>
          </p:cNvPr>
          <p:cNvSpPr/>
          <p:nvPr/>
        </p:nvSpPr>
        <p:spPr bwMode="auto">
          <a:xfrm>
            <a:off x="1277183" y="3428597"/>
            <a:ext cx="1828800" cy="3675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l" defTabSz="860733"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mn-cs"/>
              </a:rPr>
              <a:t>Computer Vision </a:t>
            </a:r>
          </a:p>
        </p:txBody>
      </p:sp>
      <p:sp>
        <p:nvSpPr>
          <p:cNvPr id="92" name="Rectangle 91">
            <a:extLst>
              <a:ext uri="{FF2B5EF4-FFF2-40B4-BE49-F238E27FC236}">
                <a16:creationId xmlns:a16="http://schemas.microsoft.com/office/drawing/2014/main" id="{FCEAB3E0-035C-994B-8189-EEBE3E7BADBA}"/>
              </a:ext>
            </a:extLst>
          </p:cNvPr>
          <p:cNvSpPr/>
          <p:nvPr/>
        </p:nvSpPr>
        <p:spPr bwMode="auto">
          <a:xfrm>
            <a:off x="1277183" y="4168269"/>
            <a:ext cx="1828800" cy="3675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l" defTabSz="860733"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mn-cs"/>
              </a:rPr>
              <a:t>Face </a:t>
            </a:r>
          </a:p>
        </p:txBody>
      </p:sp>
      <p:sp>
        <p:nvSpPr>
          <p:cNvPr id="93" name="Rectangle 92">
            <a:extLst>
              <a:ext uri="{FF2B5EF4-FFF2-40B4-BE49-F238E27FC236}">
                <a16:creationId xmlns:a16="http://schemas.microsoft.com/office/drawing/2014/main" id="{42E9DADF-9622-AC49-8C9A-A042E68AB92B}"/>
              </a:ext>
            </a:extLst>
          </p:cNvPr>
          <p:cNvSpPr/>
          <p:nvPr/>
        </p:nvSpPr>
        <p:spPr bwMode="auto">
          <a:xfrm>
            <a:off x="1277183" y="5277036"/>
            <a:ext cx="1828800" cy="3675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l" defTabSz="860733"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mn-cs"/>
              </a:rPr>
              <a:t>Video Indexer</a:t>
            </a:r>
          </a:p>
        </p:txBody>
      </p:sp>
      <p:sp>
        <p:nvSpPr>
          <p:cNvPr id="94" name="Rectangle 93">
            <a:extLst>
              <a:ext uri="{FF2B5EF4-FFF2-40B4-BE49-F238E27FC236}">
                <a16:creationId xmlns:a16="http://schemas.microsoft.com/office/drawing/2014/main" id="{B124E8A1-3B58-E04A-B3D0-C73DD554350B}"/>
              </a:ext>
            </a:extLst>
          </p:cNvPr>
          <p:cNvSpPr/>
          <p:nvPr/>
        </p:nvSpPr>
        <p:spPr bwMode="auto">
          <a:xfrm>
            <a:off x="1278225" y="3800444"/>
            <a:ext cx="1828800" cy="3675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l" defTabSz="860733"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mn-cs"/>
              </a:rPr>
              <a:t>Custom Vision</a:t>
            </a:r>
          </a:p>
        </p:txBody>
      </p:sp>
      <p:sp>
        <p:nvSpPr>
          <p:cNvPr id="95" name="Rectangle 94">
            <a:extLst>
              <a:ext uri="{FF2B5EF4-FFF2-40B4-BE49-F238E27FC236}">
                <a16:creationId xmlns:a16="http://schemas.microsoft.com/office/drawing/2014/main" id="{E9EFF24D-8627-064F-B3A7-B99F2CF97D2F}"/>
              </a:ext>
            </a:extLst>
          </p:cNvPr>
          <p:cNvSpPr/>
          <p:nvPr/>
        </p:nvSpPr>
        <p:spPr bwMode="auto">
          <a:xfrm>
            <a:off x="1277183" y="4536875"/>
            <a:ext cx="1828800" cy="3675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l" defTabSz="860733"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mn-cs"/>
              </a:rPr>
              <a:t>Form Recognizer</a:t>
            </a:r>
          </a:p>
        </p:txBody>
      </p:sp>
      <p:sp>
        <p:nvSpPr>
          <p:cNvPr id="96" name="Rectangle 95">
            <a:extLst>
              <a:ext uri="{FF2B5EF4-FFF2-40B4-BE49-F238E27FC236}">
                <a16:creationId xmlns:a16="http://schemas.microsoft.com/office/drawing/2014/main" id="{4AF0A6EE-A549-6045-9EAD-796B606F6268}"/>
              </a:ext>
            </a:extLst>
          </p:cNvPr>
          <p:cNvSpPr/>
          <p:nvPr/>
        </p:nvSpPr>
        <p:spPr bwMode="auto">
          <a:xfrm>
            <a:off x="1277183" y="4904409"/>
            <a:ext cx="1828800" cy="3675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l" defTabSz="860733"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mn-cs"/>
              </a:rPr>
              <a:t>Ink Recognizer</a:t>
            </a:r>
          </a:p>
        </p:txBody>
      </p:sp>
      <p:grpSp>
        <p:nvGrpSpPr>
          <p:cNvPr id="4" name="Group 3">
            <a:extLst>
              <a:ext uri="{FF2B5EF4-FFF2-40B4-BE49-F238E27FC236}">
                <a16:creationId xmlns:a16="http://schemas.microsoft.com/office/drawing/2014/main" id="{B1A7983D-BA7C-9B43-BE55-7F033239EE06}"/>
              </a:ext>
            </a:extLst>
          </p:cNvPr>
          <p:cNvGrpSpPr/>
          <p:nvPr/>
        </p:nvGrpSpPr>
        <p:grpSpPr>
          <a:xfrm>
            <a:off x="516414" y="6228813"/>
            <a:ext cx="2856297" cy="367534"/>
            <a:chOff x="516414" y="6228813"/>
            <a:chExt cx="2856297" cy="367534"/>
          </a:xfrm>
        </p:grpSpPr>
        <p:sp>
          <p:nvSpPr>
            <p:cNvPr id="59" name="Oval 58">
              <a:extLst>
                <a:ext uri="{FF2B5EF4-FFF2-40B4-BE49-F238E27FC236}">
                  <a16:creationId xmlns:a16="http://schemas.microsoft.com/office/drawing/2014/main" id="{D5BDC95C-0734-1646-A2F5-9292FF3E5475}"/>
                </a:ext>
              </a:extLst>
            </p:cNvPr>
            <p:cNvSpPr/>
            <p:nvPr/>
          </p:nvSpPr>
          <p:spPr bwMode="auto">
            <a:xfrm>
              <a:off x="516414" y="6285099"/>
              <a:ext cx="247343" cy="247343"/>
            </a:xfrm>
            <a:prstGeom prst="ellipse">
              <a:avLst/>
            </a:prstGeom>
            <a:solidFill>
              <a:srgbClr val="4F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Rectangle 62">
              <a:extLst>
                <a:ext uri="{FF2B5EF4-FFF2-40B4-BE49-F238E27FC236}">
                  <a16:creationId xmlns:a16="http://schemas.microsoft.com/office/drawing/2014/main" id="{802E8526-477E-2245-8CB8-982487240EA0}"/>
                </a:ext>
              </a:extLst>
            </p:cNvPr>
            <p:cNvSpPr/>
            <p:nvPr/>
          </p:nvSpPr>
          <p:spPr bwMode="auto">
            <a:xfrm>
              <a:off x="847856" y="6228813"/>
              <a:ext cx="2524855" cy="3675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44808" rIns="0" bIns="44808" numCol="1" spcCol="0" rtlCol="0" fromWordArt="0" anchor="ctr" anchorCtr="0" forceAA="0" compatLnSpc="1">
              <a:prstTxWarp prst="textNoShape">
                <a:avLst/>
              </a:prstTxWarp>
              <a:noAutofit/>
            </a:bodyPr>
            <a:lstStyle/>
            <a:p>
              <a:pPr marL="0" marR="0" lvl="0" indent="0" algn="l" defTabSz="860733"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solidFill>
                    <a:srgbClr val="4FE6FF"/>
                  </a:solidFill>
                  <a:effectLst/>
                  <a:uLnTx/>
                  <a:uFillTx/>
                  <a:latin typeface="Segoe UI"/>
                  <a:ea typeface="+mn-ea"/>
                  <a:cs typeface="+mn-cs"/>
                </a:rPr>
                <a:t>Container Support</a:t>
              </a:r>
            </a:p>
          </p:txBody>
        </p:sp>
      </p:grpSp>
      <p:grpSp>
        <p:nvGrpSpPr>
          <p:cNvPr id="5" name="Group 4">
            <a:extLst>
              <a:ext uri="{FF2B5EF4-FFF2-40B4-BE49-F238E27FC236}">
                <a16:creationId xmlns:a16="http://schemas.microsoft.com/office/drawing/2014/main" id="{21496E27-D747-714E-B5BE-D7CF8CF21D69}"/>
              </a:ext>
            </a:extLst>
          </p:cNvPr>
          <p:cNvGrpSpPr/>
          <p:nvPr/>
        </p:nvGrpSpPr>
        <p:grpSpPr>
          <a:xfrm>
            <a:off x="2629433" y="6228813"/>
            <a:ext cx="2881240" cy="367534"/>
            <a:chOff x="3214760" y="6228813"/>
            <a:chExt cx="2881240" cy="367534"/>
          </a:xfrm>
        </p:grpSpPr>
        <p:sp>
          <p:nvSpPr>
            <p:cNvPr id="62" name="Oval 61">
              <a:extLst>
                <a:ext uri="{FF2B5EF4-FFF2-40B4-BE49-F238E27FC236}">
                  <a16:creationId xmlns:a16="http://schemas.microsoft.com/office/drawing/2014/main" id="{55D3FBC6-1AAD-584E-BCCC-A2E2F014A7BF}"/>
                </a:ext>
              </a:extLst>
            </p:cNvPr>
            <p:cNvSpPr/>
            <p:nvPr/>
          </p:nvSpPr>
          <p:spPr bwMode="auto">
            <a:xfrm>
              <a:off x="3214760" y="6283748"/>
              <a:ext cx="247343" cy="247343"/>
            </a:xfrm>
            <a:prstGeom prst="ellipse">
              <a:avLst/>
            </a:prstGeom>
            <a:solidFill>
              <a:srgbClr val="047CD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Rectangle 63">
              <a:extLst>
                <a:ext uri="{FF2B5EF4-FFF2-40B4-BE49-F238E27FC236}">
                  <a16:creationId xmlns:a16="http://schemas.microsoft.com/office/drawing/2014/main" id="{95B60A70-834E-9A48-B6D7-4E7AD9412D67}"/>
                </a:ext>
              </a:extLst>
            </p:cNvPr>
            <p:cNvSpPr/>
            <p:nvPr/>
          </p:nvSpPr>
          <p:spPr bwMode="auto">
            <a:xfrm>
              <a:off x="3571145" y="6228813"/>
              <a:ext cx="2524855" cy="3675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44808" rIns="0" bIns="44808" numCol="1" spcCol="0" rtlCol="0" fromWordArt="0" anchor="ctr" anchorCtr="0" forceAA="0" compatLnSpc="1">
              <a:prstTxWarp prst="textNoShape">
                <a:avLst/>
              </a:prstTxWarp>
              <a:noAutofit/>
            </a:bodyPr>
            <a:lstStyle/>
            <a:p>
              <a:pPr marL="0" marR="0" lvl="0" indent="0" algn="l" defTabSz="860733"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solidFill>
                    <a:srgbClr val="047CDA"/>
                  </a:solidFill>
                  <a:effectLst/>
                  <a:uLnTx/>
                  <a:uFillTx/>
                  <a:latin typeface="Segoe UI"/>
                  <a:ea typeface="+mn-ea"/>
                  <a:cs typeface="+mn-cs"/>
                </a:rPr>
                <a:t>Customizable</a:t>
              </a:r>
            </a:p>
          </p:txBody>
        </p:sp>
      </p:grpSp>
      <p:sp>
        <p:nvSpPr>
          <p:cNvPr id="66" name="Oval 65">
            <a:extLst>
              <a:ext uri="{FF2B5EF4-FFF2-40B4-BE49-F238E27FC236}">
                <a16:creationId xmlns:a16="http://schemas.microsoft.com/office/drawing/2014/main" id="{9B133649-7CAF-6048-BBD9-B1F99890F322}"/>
              </a:ext>
            </a:extLst>
          </p:cNvPr>
          <p:cNvSpPr/>
          <p:nvPr/>
        </p:nvSpPr>
        <p:spPr bwMode="auto">
          <a:xfrm>
            <a:off x="1130371" y="4270429"/>
            <a:ext cx="139618" cy="139618"/>
          </a:xfrm>
          <a:prstGeom prst="ellipse">
            <a:avLst/>
          </a:prstGeom>
          <a:solidFill>
            <a:srgbClr val="4F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7C0DD9B3-F7AA-7942-B970-18DBF9E66228}"/>
              </a:ext>
            </a:extLst>
          </p:cNvPr>
          <p:cNvSpPr/>
          <p:nvPr/>
        </p:nvSpPr>
        <p:spPr bwMode="auto">
          <a:xfrm>
            <a:off x="1130371" y="3537077"/>
            <a:ext cx="139618" cy="139618"/>
          </a:xfrm>
          <a:prstGeom prst="ellipse">
            <a:avLst/>
          </a:prstGeom>
          <a:solidFill>
            <a:srgbClr val="4F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CD390D36-56C4-4B41-9B11-7953A5F23847}"/>
              </a:ext>
            </a:extLst>
          </p:cNvPr>
          <p:cNvSpPr/>
          <p:nvPr/>
        </p:nvSpPr>
        <p:spPr bwMode="auto">
          <a:xfrm>
            <a:off x="1130371" y="4637106"/>
            <a:ext cx="139618" cy="139618"/>
          </a:xfrm>
          <a:prstGeom prst="ellipse">
            <a:avLst/>
          </a:prstGeom>
          <a:solidFill>
            <a:srgbClr val="4F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7" name="Oval 96">
            <a:extLst>
              <a:ext uri="{FF2B5EF4-FFF2-40B4-BE49-F238E27FC236}">
                <a16:creationId xmlns:a16="http://schemas.microsoft.com/office/drawing/2014/main" id="{F1EA37E7-B999-DF42-994F-109DBDA1981B}"/>
              </a:ext>
            </a:extLst>
          </p:cNvPr>
          <p:cNvSpPr/>
          <p:nvPr/>
        </p:nvSpPr>
        <p:spPr bwMode="auto">
          <a:xfrm>
            <a:off x="2876754" y="3898015"/>
            <a:ext cx="139618" cy="139618"/>
          </a:xfrm>
          <a:prstGeom prst="ellipse">
            <a:avLst/>
          </a:prstGeom>
          <a:solidFill>
            <a:srgbClr val="047CD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8" name="Oval 97">
            <a:extLst>
              <a:ext uri="{FF2B5EF4-FFF2-40B4-BE49-F238E27FC236}">
                <a16:creationId xmlns:a16="http://schemas.microsoft.com/office/drawing/2014/main" id="{77D334DB-DF8E-A14D-ABBA-C78436643237}"/>
              </a:ext>
            </a:extLst>
          </p:cNvPr>
          <p:cNvSpPr/>
          <p:nvPr/>
        </p:nvSpPr>
        <p:spPr bwMode="auto">
          <a:xfrm>
            <a:off x="5023374" y="4270301"/>
            <a:ext cx="139618" cy="139618"/>
          </a:xfrm>
          <a:prstGeom prst="ellipse">
            <a:avLst/>
          </a:prstGeom>
          <a:solidFill>
            <a:srgbClr val="4F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9" name="Oval 98">
            <a:extLst>
              <a:ext uri="{FF2B5EF4-FFF2-40B4-BE49-F238E27FC236}">
                <a16:creationId xmlns:a16="http://schemas.microsoft.com/office/drawing/2014/main" id="{8C00E939-FF1C-6748-BBDD-D243D7B122B5}"/>
              </a:ext>
            </a:extLst>
          </p:cNvPr>
          <p:cNvSpPr/>
          <p:nvPr/>
        </p:nvSpPr>
        <p:spPr bwMode="auto">
          <a:xfrm>
            <a:off x="5025700" y="3898564"/>
            <a:ext cx="139618" cy="139618"/>
          </a:xfrm>
          <a:prstGeom prst="ellipse">
            <a:avLst/>
          </a:prstGeom>
          <a:solidFill>
            <a:srgbClr val="4F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0" name="Oval 99">
            <a:extLst>
              <a:ext uri="{FF2B5EF4-FFF2-40B4-BE49-F238E27FC236}">
                <a16:creationId xmlns:a16="http://schemas.microsoft.com/office/drawing/2014/main" id="{B0A7B467-D42A-9C49-B542-B2FEA3B0E71D}"/>
              </a:ext>
            </a:extLst>
          </p:cNvPr>
          <p:cNvSpPr/>
          <p:nvPr/>
        </p:nvSpPr>
        <p:spPr bwMode="auto">
          <a:xfrm>
            <a:off x="7169049" y="3544308"/>
            <a:ext cx="139618" cy="139618"/>
          </a:xfrm>
          <a:prstGeom prst="ellipse">
            <a:avLst/>
          </a:prstGeom>
          <a:solidFill>
            <a:srgbClr val="047CD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1" name="Oval 100">
            <a:extLst>
              <a:ext uri="{FF2B5EF4-FFF2-40B4-BE49-F238E27FC236}">
                <a16:creationId xmlns:a16="http://schemas.microsoft.com/office/drawing/2014/main" id="{EAEAF584-17C3-454C-A2A6-032A9B39E54D}"/>
              </a:ext>
            </a:extLst>
          </p:cNvPr>
          <p:cNvSpPr/>
          <p:nvPr/>
        </p:nvSpPr>
        <p:spPr bwMode="auto">
          <a:xfrm>
            <a:off x="7169049" y="4277560"/>
            <a:ext cx="139618" cy="139618"/>
          </a:xfrm>
          <a:prstGeom prst="ellipse">
            <a:avLst/>
          </a:prstGeom>
          <a:solidFill>
            <a:srgbClr val="047CD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2" name="Oval 101">
            <a:extLst>
              <a:ext uri="{FF2B5EF4-FFF2-40B4-BE49-F238E27FC236}">
                <a16:creationId xmlns:a16="http://schemas.microsoft.com/office/drawing/2014/main" id="{52F2E031-12BE-EA4D-B2DA-6E748610196E}"/>
              </a:ext>
            </a:extLst>
          </p:cNvPr>
          <p:cNvSpPr/>
          <p:nvPr/>
        </p:nvSpPr>
        <p:spPr bwMode="auto">
          <a:xfrm>
            <a:off x="1130371" y="3903753"/>
            <a:ext cx="139618" cy="139618"/>
          </a:xfrm>
          <a:prstGeom prst="ellipse">
            <a:avLst/>
          </a:prstGeom>
          <a:solidFill>
            <a:srgbClr val="047CD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3" name="Oval 102">
            <a:extLst>
              <a:ext uri="{FF2B5EF4-FFF2-40B4-BE49-F238E27FC236}">
                <a16:creationId xmlns:a16="http://schemas.microsoft.com/office/drawing/2014/main" id="{56A170E9-6595-284C-AFCB-608F2A18A7D6}"/>
              </a:ext>
            </a:extLst>
          </p:cNvPr>
          <p:cNvSpPr/>
          <p:nvPr/>
        </p:nvSpPr>
        <p:spPr bwMode="auto">
          <a:xfrm>
            <a:off x="3032094" y="3896664"/>
            <a:ext cx="139618" cy="139618"/>
          </a:xfrm>
          <a:prstGeom prst="ellipse">
            <a:avLst/>
          </a:prstGeom>
          <a:solidFill>
            <a:srgbClr val="4F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4" name="Oval 103">
            <a:extLst>
              <a:ext uri="{FF2B5EF4-FFF2-40B4-BE49-F238E27FC236}">
                <a16:creationId xmlns:a16="http://schemas.microsoft.com/office/drawing/2014/main" id="{21DA8D37-921A-F74C-8D1B-DA7D10B0EC80}"/>
              </a:ext>
            </a:extLst>
          </p:cNvPr>
          <p:cNvSpPr/>
          <p:nvPr/>
        </p:nvSpPr>
        <p:spPr bwMode="auto">
          <a:xfrm>
            <a:off x="5025700" y="5001639"/>
            <a:ext cx="139618" cy="139618"/>
          </a:xfrm>
          <a:prstGeom prst="ellipse">
            <a:avLst/>
          </a:prstGeom>
          <a:solidFill>
            <a:srgbClr val="047CD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5" name="Oval 104">
            <a:extLst>
              <a:ext uri="{FF2B5EF4-FFF2-40B4-BE49-F238E27FC236}">
                <a16:creationId xmlns:a16="http://schemas.microsoft.com/office/drawing/2014/main" id="{508607D0-AC51-D644-AF31-3A077204BC2B}"/>
              </a:ext>
            </a:extLst>
          </p:cNvPr>
          <p:cNvSpPr/>
          <p:nvPr/>
        </p:nvSpPr>
        <p:spPr bwMode="auto">
          <a:xfrm>
            <a:off x="7312202" y="3544308"/>
            <a:ext cx="139618" cy="139618"/>
          </a:xfrm>
          <a:prstGeom prst="ellipse">
            <a:avLst/>
          </a:prstGeom>
          <a:solidFill>
            <a:srgbClr val="4F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6" name="Oval 105">
            <a:extLst>
              <a:ext uri="{FF2B5EF4-FFF2-40B4-BE49-F238E27FC236}">
                <a16:creationId xmlns:a16="http://schemas.microsoft.com/office/drawing/2014/main" id="{2992CA4C-D8AF-7D4E-A812-7EE19E0A15E5}"/>
              </a:ext>
            </a:extLst>
          </p:cNvPr>
          <p:cNvSpPr/>
          <p:nvPr/>
        </p:nvSpPr>
        <p:spPr bwMode="auto">
          <a:xfrm>
            <a:off x="7312202" y="4277560"/>
            <a:ext cx="139618" cy="139618"/>
          </a:xfrm>
          <a:prstGeom prst="ellipse">
            <a:avLst/>
          </a:prstGeom>
          <a:solidFill>
            <a:srgbClr val="4F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7" name="Oval 106">
            <a:extLst>
              <a:ext uri="{FF2B5EF4-FFF2-40B4-BE49-F238E27FC236}">
                <a16:creationId xmlns:a16="http://schemas.microsoft.com/office/drawing/2014/main" id="{0B49A541-4657-0A4F-BDAE-B19D6F27B5C9}"/>
              </a:ext>
            </a:extLst>
          </p:cNvPr>
          <p:cNvSpPr/>
          <p:nvPr/>
        </p:nvSpPr>
        <p:spPr bwMode="auto">
          <a:xfrm>
            <a:off x="9372891" y="3912703"/>
            <a:ext cx="139618" cy="139618"/>
          </a:xfrm>
          <a:prstGeom prst="ellipse">
            <a:avLst/>
          </a:prstGeom>
          <a:solidFill>
            <a:srgbClr val="047CD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04B4F027-0940-4EF4-A3D1-71E9C6D2EC5F}"/>
              </a:ext>
            </a:extLst>
          </p:cNvPr>
          <p:cNvSpPr/>
          <p:nvPr/>
        </p:nvSpPr>
        <p:spPr bwMode="auto">
          <a:xfrm>
            <a:off x="5164759" y="3427621"/>
            <a:ext cx="1828800" cy="3675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44808" rIns="0" bIns="44808" numCol="1" spcCol="0" rtlCol="0" fromWordArt="0" anchor="ctr" anchorCtr="0" forceAA="0" compatLnSpc="1">
            <a:prstTxWarp prst="textNoShape">
              <a:avLst/>
            </a:prstTxWarp>
            <a:noAutofit/>
          </a:bodyPr>
          <a:lstStyle/>
          <a:p>
            <a:pPr marL="0" marR="0" lvl="0" indent="0" algn="l" defTabSz="860733"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mn-cs"/>
              </a:rPr>
              <a:t>Immersive Reader</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Title 5">
            <a:extLst>
              <a:ext uri="{FF2B5EF4-FFF2-40B4-BE49-F238E27FC236}">
                <a16:creationId xmlns:a16="http://schemas.microsoft.com/office/drawing/2014/main" id="{EC835602-B158-4137-9AF8-EB37EC642D17}"/>
              </a:ext>
            </a:extLst>
          </p:cNvPr>
          <p:cNvSpPr>
            <a:spLocks noGrp="1"/>
          </p:cNvSpPr>
          <p:nvPr>
            <p:ph type="title"/>
          </p:nvPr>
        </p:nvSpPr>
        <p:spPr/>
        <p:txBody>
          <a:bodyPr/>
          <a:lstStyle/>
          <a:p>
            <a:r>
              <a:rPr lang="en-US"/>
              <a:t>Azure Cognitive Services</a:t>
            </a:r>
          </a:p>
        </p:txBody>
      </p:sp>
    </p:spTree>
    <p:extLst>
      <p:ext uri="{BB962C8B-B14F-4D97-AF65-F5344CB8AC3E}">
        <p14:creationId xmlns:p14="http://schemas.microsoft.com/office/powerpoint/2010/main" val="20521973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fade">
                                      <p:cBhvr>
                                        <p:cTn id="7" dur="500"/>
                                        <p:tgtEl>
                                          <p:spTgt spid="91"/>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94"/>
                                        </p:tgtEl>
                                        <p:attrNameLst>
                                          <p:attrName>style.visibility</p:attrName>
                                        </p:attrNameLst>
                                      </p:cBhvr>
                                      <p:to>
                                        <p:strVal val="visible"/>
                                      </p:to>
                                    </p:set>
                                    <p:animEffect transition="in" filter="fade">
                                      <p:cBhvr>
                                        <p:cTn id="10" dur="500"/>
                                        <p:tgtEl>
                                          <p:spTgt spid="94"/>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89"/>
                                        </p:tgtEl>
                                        <p:attrNameLst>
                                          <p:attrName>style.visibility</p:attrName>
                                        </p:attrNameLst>
                                      </p:cBhvr>
                                      <p:to>
                                        <p:strVal val="visible"/>
                                      </p:to>
                                    </p:set>
                                    <p:animEffect transition="in" filter="fade">
                                      <p:cBhvr>
                                        <p:cTn id="13" dur="500"/>
                                        <p:tgtEl>
                                          <p:spTgt spid="89"/>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92"/>
                                        </p:tgtEl>
                                        <p:attrNameLst>
                                          <p:attrName>style.visibility</p:attrName>
                                        </p:attrNameLst>
                                      </p:cBhvr>
                                      <p:to>
                                        <p:strVal val="visible"/>
                                      </p:to>
                                    </p:set>
                                    <p:animEffect transition="in" filter="fade">
                                      <p:cBhvr>
                                        <p:cTn id="16" dur="500"/>
                                        <p:tgtEl>
                                          <p:spTgt spid="92"/>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90"/>
                                        </p:tgtEl>
                                        <p:attrNameLst>
                                          <p:attrName>style.visibility</p:attrName>
                                        </p:attrNameLst>
                                      </p:cBhvr>
                                      <p:to>
                                        <p:strVal val="visible"/>
                                      </p:to>
                                    </p:set>
                                    <p:animEffect transition="in" filter="fade">
                                      <p:cBhvr>
                                        <p:cTn id="22" dur="500"/>
                                        <p:tgtEl>
                                          <p:spTgt spid="90"/>
                                        </p:tgtEl>
                                      </p:cBhvr>
                                    </p:animEffect>
                                  </p:childTnLst>
                                </p:cTn>
                              </p:par>
                              <p:par>
                                <p:cTn id="23" presetID="10" presetClass="entr" presetSubtype="0" fill="hold" grpId="0" nodeType="withEffect">
                                  <p:stCondLst>
                                    <p:cond delay="300"/>
                                  </p:stCondLst>
                                  <p:childTnLst>
                                    <p:set>
                                      <p:cBhvr>
                                        <p:cTn id="24" dur="1" fill="hold">
                                          <p:stCondLst>
                                            <p:cond delay="0"/>
                                          </p:stCondLst>
                                        </p:cTn>
                                        <p:tgtEl>
                                          <p:spTgt spid="95"/>
                                        </p:tgtEl>
                                        <p:attrNameLst>
                                          <p:attrName>style.visibility</p:attrName>
                                        </p:attrNameLst>
                                      </p:cBhvr>
                                      <p:to>
                                        <p:strVal val="visible"/>
                                      </p:to>
                                    </p:set>
                                    <p:animEffect transition="in" filter="fade">
                                      <p:cBhvr>
                                        <p:cTn id="25" dur="500"/>
                                        <p:tgtEl>
                                          <p:spTgt spid="95"/>
                                        </p:tgtEl>
                                      </p:cBhvr>
                                    </p:animEffect>
                                  </p:childTnLst>
                                </p:cTn>
                              </p:par>
                              <p:par>
                                <p:cTn id="26" presetID="10" presetClass="entr" presetSubtype="0" fill="hold" grpId="0" nodeType="withEffect">
                                  <p:stCondLst>
                                    <p:cond delay="300"/>
                                  </p:stCondLst>
                                  <p:childTnLst>
                                    <p:set>
                                      <p:cBhvr>
                                        <p:cTn id="27" dur="1" fill="hold">
                                          <p:stCondLst>
                                            <p:cond delay="0"/>
                                          </p:stCondLst>
                                        </p:cTn>
                                        <p:tgtEl>
                                          <p:spTgt spid="84"/>
                                        </p:tgtEl>
                                        <p:attrNameLst>
                                          <p:attrName>style.visibility</p:attrName>
                                        </p:attrNameLst>
                                      </p:cBhvr>
                                      <p:to>
                                        <p:strVal val="visible"/>
                                      </p:to>
                                    </p:set>
                                    <p:animEffect transition="in" filter="fade">
                                      <p:cBhvr>
                                        <p:cTn id="28" dur="500"/>
                                        <p:tgtEl>
                                          <p:spTgt spid="84"/>
                                        </p:tgtEl>
                                      </p:cBhvr>
                                    </p:animEffect>
                                  </p:childTnLst>
                                </p:cTn>
                              </p:par>
                              <p:par>
                                <p:cTn id="29" presetID="10" presetClass="entr" presetSubtype="0" fill="hold" grpId="0" nodeType="withEffect">
                                  <p:stCondLst>
                                    <p:cond delay="300"/>
                                  </p:stCondLst>
                                  <p:childTnLst>
                                    <p:set>
                                      <p:cBhvr>
                                        <p:cTn id="30" dur="1" fill="hold">
                                          <p:stCondLst>
                                            <p:cond delay="0"/>
                                          </p:stCondLst>
                                        </p:cTn>
                                        <p:tgtEl>
                                          <p:spTgt spid="82"/>
                                        </p:tgtEl>
                                        <p:attrNameLst>
                                          <p:attrName>style.visibility</p:attrName>
                                        </p:attrNameLst>
                                      </p:cBhvr>
                                      <p:to>
                                        <p:strVal val="visible"/>
                                      </p:to>
                                    </p:set>
                                    <p:animEffect transition="in" filter="fade">
                                      <p:cBhvr>
                                        <p:cTn id="31" dur="500"/>
                                        <p:tgtEl>
                                          <p:spTgt spid="82"/>
                                        </p:tgtEl>
                                      </p:cBhvr>
                                    </p:animEffect>
                                  </p:childTnLst>
                                </p:cTn>
                              </p:par>
                              <p:par>
                                <p:cTn id="32" presetID="10" presetClass="entr" presetSubtype="0" fill="hold" grpId="0" nodeType="withEffect">
                                  <p:stCondLst>
                                    <p:cond delay="400"/>
                                  </p:stCondLst>
                                  <p:childTnLst>
                                    <p:set>
                                      <p:cBhvr>
                                        <p:cTn id="33" dur="1" fill="hold">
                                          <p:stCondLst>
                                            <p:cond delay="0"/>
                                          </p:stCondLst>
                                        </p:cTn>
                                        <p:tgtEl>
                                          <p:spTgt spid="96"/>
                                        </p:tgtEl>
                                        <p:attrNameLst>
                                          <p:attrName>style.visibility</p:attrName>
                                        </p:attrNameLst>
                                      </p:cBhvr>
                                      <p:to>
                                        <p:strVal val="visible"/>
                                      </p:to>
                                    </p:set>
                                    <p:animEffect transition="in" filter="fade">
                                      <p:cBhvr>
                                        <p:cTn id="34" dur="500"/>
                                        <p:tgtEl>
                                          <p:spTgt spid="96"/>
                                        </p:tgtEl>
                                      </p:cBhvr>
                                    </p:animEffect>
                                  </p:childTnLst>
                                </p:cTn>
                              </p:par>
                              <p:par>
                                <p:cTn id="35" presetID="10" presetClass="entr" presetSubtype="0" fill="hold" grpId="0" nodeType="withEffect">
                                  <p:stCondLst>
                                    <p:cond delay="400"/>
                                  </p:stCondLst>
                                  <p:childTnLst>
                                    <p:set>
                                      <p:cBhvr>
                                        <p:cTn id="36" dur="1" fill="hold">
                                          <p:stCondLst>
                                            <p:cond delay="0"/>
                                          </p:stCondLst>
                                        </p:cTn>
                                        <p:tgtEl>
                                          <p:spTgt spid="81"/>
                                        </p:tgtEl>
                                        <p:attrNameLst>
                                          <p:attrName>style.visibility</p:attrName>
                                        </p:attrNameLst>
                                      </p:cBhvr>
                                      <p:to>
                                        <p:strVal val="visible"/>
                                      </p:to>
                                    </p:set>
                                    <p:animEffect transition="in" filter="fade">
                                      <p:cBhvr>
                                        <p:cTn id="37" dur="500"/>
                                        <p:tgtEl>
                                          <p:spTgt spid="81"/>
                                        </p:tgtEl>
                                      </p:cBhvr>
                                    </p:animEffect>
                                  </p:childTnLst>
                                </p:cTn>
                              </p:par>
                              <p:par>
                                <p:cTn id="38" presetID="10" presetClass="entr" presetSubtype="0" fill="hold" grpId="0" nodeType="withEffect">
                                  <p:stCondLst>
                                    <p:cond delay="400"/>
                                  </p:stCondLst>
                                  <p:childTnLst>
                                    <p:set>
                                      <p:cBhvr>
                                        <p:cTn id="39" dur="1" fill="hold">
                                          <p:stCondLst>
                                            <p:cond delay="0"/>
                                          </p:stCondLst>
                                        </p:cTn>
                                        <p:tgtEl>
                                          <p:spTgt spid="85"/>
                                        </p:tgtEl>
                                        <p:attrNameLst>
                                          <p:attrName>style.visibility</p:attrName>
                                        </p:attrNameLst>
                                      </p:cBhvr>
                                      <p:to>
                                        <p:strVal val="visible"/>
                                      </p:to>
                                    </p:set>
                                    <p:animEffect transition="in" filter="fade">
                                      <p:cBhvr>
                                        <p:cTn id="40" dur="500"/>
                                        <p:tgtEl>
                                          <p:spTgt spid="85"/>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93"/>
                                        </p:tgtEl>
                                        <p:attrNameLst>
                                          <p:attrName>style.visibility</p:attrName>
                                        </p:attrNameLst>
                                      </p:cBhvr>
                                      <p:to>
                                        <p:strVal val="visible"/>
                                      </p:to>
                                    </p:set>
                                    <p:animEffect transition="in" filter="fade">
                                      <p:cBhvr>
                                        <p:cTn id="43" dur="500"/>
                                        <p:tgtEl>
                                          <p:spTgt spid="93"/>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87"/>
                                        </p:tgtEl>
                                        <p:attrNameLst>
                                          <p:attrName>style.visibility</p:attrName>
                                        </p:attrNameLst>
                                      </p:cBhvr>
                                      <p:to>
                                        <p:strVal val="visible"/>
                                      </p:to>
                                    </p:set>
                                    <p:animEffect transition="in" filter="fade">
                                      <p:cBhvr>
                                        <p:cTn id="46" dur="500"/>
                                        <p:tgtEl>
                                          <p:spTgt spid="87"/>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83"/>
                                        </p:tgtEl>
                                        <p:attrNameLst>
                                          <p:attrName>style.visibility</p:attrName>
                                        </p:attrNameLst>
                                      </p:cBhvr>
                                      <p:to>
                                        <p:strVal val="visible"/>
                                      </p:to>
                                    </p:set>
                                    <p:animEffect transition="in" filter="fade">
                                      <p:cBhvr>
                                        <p:cTn id="49" dur="500"/>
                                        <p:tgtEl>
                                          <p:spTgt spid="83"/>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70"/>
                                        </p:tgtEl>
                                        <p:attrNameLst>
                                          <p:attrName>style.visibility</p:attrName>
                                        </p:attrNameLst>
                                      </p:cBhvr>
                                      <p:to>
                                        <p:strVal val="visible"/>
                                      </p:to>
                                    </p:set>
                                    <p:animEffect transition="in" filter="fade">
                                      <p:cBhvr>
                                        <p:cTn id="52" dur="500"/>
                                        <p:tgtEl>
                                          <p:spTgt spid="70"/>
                                        </p:tgtEl>
                                      </p:cBhvr>
                                    </p:animEffect>
                                  </p:childTnLst>
                                </p:cTn>
                              </p:par>
                              <p:par>
                                <p:cTn id="53" presetID="10" presetClass="entr" presetSubtype="0" fill="hold" grpId="0" nodeType="withEffect">
                                  <p:stCondLst>
                                    <p:cond delay="600"/>
                                  </p:stCondLst>
                                  <p:childTnLst>
                                    <p:set>
                                      <p:cBhvr>
                                        <p:cTn id="54" dur="1" fill="hold">
                                          <p:stCondLst>
                                            <p:cond delay="0"/>
                                          </p:stCondLst>
                                        </p:cTn>
                                        <p:tgtEl>
                                          <p:spTgt spid="88"/>
                                        </p:tgtEl>
                                        <p:attrNameLst>
                                          <p:attrName>style.visibility</p:attrName>
                                        </p:attrNameLst>
                                      </p:cBhvr>
                                      <p:to>
                                        <p:strVal val="visible"/>
                                      </p:to>
                                    </p:set>
                                    <p:animEffect transition="in" filter="fade">
                                      <p:cBhvr>
                                        <p:cTn id="55" dur="500"/>
                                        <p:tgtEl>
                                          <p:spTgt spid="88"/>
                                        </p:tgtEl>
                                      </p:cBhvr>
                                    </p:animEffect>
                                  </p:childTnLst>
                                </p:cTn>
                              </p:par>
                              <p:par>
                                <p:cTn id="56" presetID="10" presetClass="entr" presetSubtype="0" fill="hold" grpId="0" nodeType="withEffect">
                                  <p:stCondLst>
                                    <p:cond delay="600"/>
                                  </p:stCondLst>
                                  <p:childTnLst>
                                    <p:set>
                                      <p:cBhvr>
                                        <p:cTn id="57" dur="1" fill="hold">
                                          <p:stCondLst>
                                            <p:cond delay="0"/>
                                          </p:stCondLst>
                                        </p:cTn>
                                        <p:tgtEl>
                                          <p:spTgt spid="76"/>
                                        </p:tgtEl>
                                        <p:attrNameLst>
                                          <p:attrName>style.visibility</p:attrName>
                                        </p:attrNameLst>
                                      </p:cBhvr>
                                      <p:to>
                                        <p:strVal val="visible"/>
                                      </p:to>
                                    </p:set>
                                    <p:animEffect transition="in" filter="fade">
                                      <p:cBhvr>
                                        <p:cTn id="58" dur="500"/>
                                        <p:tgtEl>
                                          <p:spTgt spid="76"/>
                                        </p:tgtEl>
                                      </p:cBhvr>
                                    </p:animEffect>
                                  </p:childTnLst>
                                </p:cTn>
                              </p:par>
                              <p:par>
                                <p:cTn id="59" presetID="10" presetClass="entr" presetSubtype="0" fill="hold" grpId="0" nodeType="withEffect">
                                  <p:stCondLst>
                                    <p:cond delay="900"/>
                                  </p:stCondLst>
                                  <p:childTnLst>
                                    <p:set>
                                      <p:cBhvr>
                                        <p:cTn id="60" dur="1" fill="hold">
                                          <p:stCondLst>
                                            <p:cond delay="0"/>
                                          </p:stCondLst>
                                        </p:cTn>
                                        <p:tgtEl>
                                          <p:spTgt spid="71"/>
                                        </p:tgtEl>
                                        <p:attrNameLst>
                                          <p:attrName>style.visibility</p:attrName>
                                        </p:attrNameLst>
                                      </p:cBhvr>
                                      <p:to>
                                        <p:strVal val="visible"/>
                                      </p:to>
                                    </p:set>
                                    <p:animEffect transition="in" filter="fade">
                                      <p:cBhvr>
                                        <p:cTn id="61" dur="500"/>
                                        <p:tgtEl>
                                          <p:spTgt spid="71"/>
                                        </p:tgtEl>
                                      </p:cBhvr>
                                    </p:animEffect>
                                  </p:childTnLst>
                                </p:cTn>
                              </p:par>
                              <p:par>
                                <p:cTn id="62" presetID="10" presetClass="entr" presetSubtype="0" fill="hold" grpId="0" nodeType="withEffect">
                                  <p:stCondLst>
                                    <p:cond delay="700"/>
                                  </p:stCondLst>
                                  <p:childTnLst>
                                    <p:set>
                                      <p:cBhvr>
                                        <p:cTn id="63" dur="1" fill="hold">
                                          <p:stCondLst>
                                            <p:cond delay="0"/>
                                          </p:stCondLst>
                                        </p:cTn>
                                        <p:tgtEl>
                                          <p:spTgt spid="72"/>
                                        </p:tgtEl>
                                        <p:attrNameLst>
                                          <p:attrName>style.visibility</p:attrName>
                                        </p:attrNameLst>
                                      </p:cBhvr>
                                      <p:to>
                                        <p:strVal val="visible"/>
                                      </p:to>
                                    </p:set>
                                    <p:animEffect transition="in" filter="fade">
                                      <p:cBhvr>
                                        <p:cTn id="64" dur="500"/>
                                        <p:tgtEl>
                                          <p:spTgt spid="72"/>
                                        </p:tgtEl>
                                      </p:cBhvr>
                                    </p:animEffect>
                                  </p:childTnLst>
                                </p:cTn>
                              </p:par>
                              <p:par>
                                <p:cTn id="65" presetID="10" presetClass="entr" presetSubtype="0" fill="hold" grpId="0" nodeType="withEffect">
                                  <p:stCondLst>
                                    <p:cond delay="800"/>
                                  </p:stCondLst>
                                  <p:childTnLst>
                                    <p:set>
                                      <p:cBhvr>
                                        <p:cTn id="66" dur="1" fill="hold">
                                          <p:stCondLst>
                                            <p:cond delay="0"/>
                                          </p:stCondLst>
                                        </p:cTn>
                                        <p:tgtEl>
                                          <p:spTgt spid="86"/>
                                        </p:tgtEl>
                                        <p:attrNameLst>
                                          <p:attrName>style.visibility</p:attrName>
                                        </p:attrNameLst>
                                      </p:cBhvr>
                                      <p:to>
                                        <p:strVal val="visible"/>
                                      </p:to>
                                    </p:set>
                                    <p:animEffect transition="in" filter="fade">
                                      <p:cBhvr>
                                        <p:cTn id="67" dur="500"/>
                                        <p:tgtEl>
                                          <p:spTgt spid="86"/>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67"/>
                                        </p:tgtEl>
                                        <p:attrNameLst>
                                          <p:attrName>style.visibility</p:attrName>
                                        </p:attrNameLst>
                                      </p:cBhvr>
                                      <p:to>
                                        <p:strVal val="visible"/>
                                      </p:to>
                                    </p:set>
                                    <p:animEffect transition="in" filter="fade">
                                      <p:cBhvr>
                                        <p:cTn id="72" dur="500"/>
                                        <p:tgtEl>
                                          <p:spTgt spid="67"/>
                                        </p:tgtEl>
                                      </p:cBhvr>
                                    </p:animEffect>
                                  </p:childTnLst>
                                </p:cTn>
                              </p:par>
                              <p:par>
                                <p:cTn id="73" presetID="10" presetClass="entr" presetSubtype="0" fill="hold" grpId="0" nodeType="withEffect">
                                  <p:stCondLst>
                                    <p:cond delay="100"/>
                                  </p:stCondLst>
                                  <p:childTnLst>
                                    <p:set>
                                      <p:cBhvr>
                                        <p:cTn id="74" dur="1" fill="hold">
                                          <p:stCondLst>
                                            <p:cond delay="0"/>
                                          </p:stCondLst>
                                        </p:cTn>
                                        <p:tgtEl>
                                          <p:spTgt spid="66"/>
                                        </p:tgtEl>
                                        <p:attrNameLst>
                                          <p:attrName>style.visibility</p:attrName>
                                        </p:attrNameLst>
                                      </p:cBhvr>
                                      <p:to>
                                        <p:strVal val="visible"/>
                                      </p:to>
                                    </p:set>
                                    <p:animEffect transition="in" filter="fade">
                                      <p:cBhvr>
                                        <p:cTn id="75" dur="500"/>
                                        <p:tgtEl>
                                          <p:spTgt spid="66"/>
                                        </p:tgtEl>
                                      </p:cBhvr>
                                    </p:animEffect>
                                  </p:childTnLst>
                                </p:cTn>
                              </p:par>
                              <p:par>
                                <p:cTn id="76" presetID="10" presetClass="entr" presetSubtype="0" fill="hold" grpId="0" nodeType="withEffect">
                                  <p:stCondLst>
                                    <p:cond delay="200"/>
                                  </p:stCondLst>
                                  <p:childTnLst>
                                    <p:set>
                                      <p:cBhvr>
                                        <p:cTn id="77" dur="1" fill="hold">
                                          <p:stCondLst>
                                            <p:cond delay="0"/>
                                          </p:stCondLst>
                                        </p:cTn>
                                        <p:tgtEl>
                                          <p:spTgt spid="68"/>
                                        </p:tgtEl>
                                        <p:attrNameLst>
                                          <p:attrName>style.visibility</p:attrName>
                                        </p:attrNameLst>
                                      </p:cBhvr>
                                      <p:to>
                                        <p:strVal val="visible"/>
                                      </p:to>
                                    </p:set>
                                    <p:animEffect transition="in" filter="fade">
                                      <p:cBhvr>
                                        <p:cTn id="78" dur="500"/>
                                        <p:tgtEl>
                                          <p:spTgt spid="68"/>
                                        </p:tgtEl>
                                      </p:cBhvr>
                                    </p:animEffect>
                                  </p:childTnLst>
                                </p:cTn>
                              </p:par>
                              <p:par>
                                <p:cTn id="79" presetID="10" presetClass="entr" presetSubtype="0" fill="hold" grpId="0" nodeType="withEffect">
                                  <p:stCondLst>
                                    <p:cond delay="300"/>
                                  </p:stCondLst>
                                  <p:childTnLst>
                                    <p:set>
                                      <p:cBhvr>
                                        <p:cTn id="80" dur="1" fill="hold">
                                          <p:stCondLst>
                                            <p:cond delay="0"/>
                                          </p:stCondLst>
                                        </p:cTn>
                                        <p:tgtEl>
                                          <p:spTgt spid="103"/>
                                        </p:tgtEl>
                                        <p:attrNameLst>
                                          <p:attrName>style.visibility</p:attrName>
                                        </p:attrNameLst>
                                      </p:cBhvr>
                                      <p:to>
                                        <p:strVal val="visible"/>
                                      </p:to>
                                    </p:set>
                                    <p:animEffect transition="in" filter="fade">
                                      <p:cBhvr>
                                        <p:cTn id="81" dur="500"/>
                                        <p:tgtEl>
                                          <p:spTgt spid="103"/>
                                        </p:tgtEl>
                                      </p:cBhvr>
                                    </p:animEffect>
                                  </p:childTnLst>
                                </p:cTn>
                              </p:par>
                              <p:par>
                                <p:cTn id="82" presetID="10" presetClass="entr" presetSubtype="0" fill="hold" grpId="0" nodeType="withEffect">
                                  <p:stCondLst>
                                    <p:cond delay="400"/>
                                  </p:stCondLst>
                                  <p:childTnLst>
                                    <p:set>
                                      <p:cBhvr>
                                        <p:cTn id="83" dur="1" fill="hold">
                                          <p:stCondLst>
                                            <p:cond delay="0"/>
                                          </p:stCondLst>
                                        </p:cTn>
                                        <p:tgtEl>
                                          <p:spTgt spid="99"/>
                                        </p:tgtEl>
                                        <p:attrNameLst>
                                          <p:attrName>style.visibility</p:attrName>
                                        </p:attrNameLst>
                                      </p:cBhvr>
                                      <p:to>
                                        <p:strVal val="visible"/>
                                      </p:to>
                                    </p:set>
                                    <p:animEffect transition="in" filter="fade">
                                      <p:cBhvr>
                                        <p:cTn id="84" dur="500"/>
                                        <p:tgtEl>
                                          <p:spTgt spid="99"/>
                                        </p:tgtEl>
                                      </p:cBhvr>
                                    </p:animEffect>
                                  </p:childTnLst>
                                </p:cTn>
                              </p:par>
                              <p:par>
                                <p:cTn id="85" presetID="10" presetClass="entr" presetSubtype="0" fill="hold" grpId="0" nodeType="withEffect">
                                  <p:stCondLst>
                                    <p:cond delay="500"/>
                                  </p:stCondLst>
                                  <p:childTnLst>
                                    <p:set>
                                      <p:cBhvr>
                                        <p:cTn id="86" dur="1" fill="hold">
                                          <p:stCondLst>
                                            <p:cond delay="0"/>
                                          </p:stCondLst>
                                        </p:cTn>
                                        <p:tgtEl>
                                          <p:spTgt spid="98"/>
                                        </p:tgtEl>
                                        <p:attrNameLst>
                                          <p:attrName>style.visibility</p:attrName>
                                        </p:attrNameLst>
                                      </p:cBhvr>
                                      <p:to>
                                        <p:strVal val="visible"/>
                                      </p:to>
                                    </p:set>
                                    <p:animEffect transition="in" filter="fade">
                                      <p:cBhvr>
                                        <p:cTn id="87" dur="500"/>
                                        <p:tgtEl>
                                          <p:spTgt spid="98"/>
                                        </p:tgtEl>
                                      </p:cBhvr>
                                    </p:animEffect>
                                  </p:childTnLst>
                                </p:cTn>
                              </p:par>
                              <p:par>
                                <p:cTn id="88" presetID="10" presetClass="entr" presetSubtype="0" fill="hold" grpId="0" nodeType="withEffect">
                                  <p:stCondLst>
                                    <p:cond delay="600"/>
                                  </p:stCondLst>
                                  <p:childTnLst>
                                    <p:set>
                                      <p:cBhvr>
                                        <p:cTn id="89" dur="1" fill="hold">
                                          <p:stCondLst>
                                            <p:cond delay="0"/>
                                          </p:stCondLst>
                                        </p:cTn>
                                        <p:tgtEl>
                                          <p:spTgt spid="105"/>
                                        </p:tgtEl>
                                        <p:attrNameLst>
                                          <p:attrName>style.visibility</p:attrName>
                                        </p:attrNameLst>
                                      </p:cBhvr>
                                      <p:to>
                                        <p:strVal val="visible"/>
                                      </p:to>
                                    </p:set>
                                    <p:animEffect transition="in" filter="fade">
                                      <p:cBhvr>
                                        <p:cTn id="90" dur="500"/>
                                        <p:tgtEl>
                                          <p:spTgt spid="105"/>
                                        </p:tgtEl>
                                      </p:cBhvr>
                                    </p:animEffect>
                                  </p:childTnLst>
                                </p:cTn>
                              </p:par>
                              <p:par>
                                <p:cTn id="91" presetID="10" presetClass="entr" presetSubtype="0" fill="hold" grpId="0" nodeType="withEffect">
                                  <p:stCondLst>
                                    <p:cond delay="700"/>
                                  </p:stCondLst>
                                  <p:childTnLst>
                                    <p:set>
                                      <p:cBhvr>
                                        <p:cTn id="92" dur="1" fill="hold">
                                          <p:stCondLst>
                                            <p:cond delay="0"/>
                                          </p:stCondLst>
                                        </p:cTn>
                                        <p:tgtEl>
                                          <p:spTgt spid="106"/>
                                        </p:tgtEl>
                                        <p:attrNameLst>
                                          <p:attrName>style.visibility</p:attrName>
                                        </p:attrNameLst>
                                      </p:cBhvr>
                                      <p:to>
                                        <p:strVal val="visible"/>
                                      </p:to>
                                    </p:set>
                                    <p:animEffect transition="in" filter="fade">
                                      <p:cBhvr>
                                        <p:cTn id="93" dur="500"/>
                                        <p:tgtEl>
                                          <p:spTgt spid="106"/>
                                        </p:tgtEl>
                                      </p:cBhvr>
                                    </p:animEffect>
                                  </p:childTnLst>
                                </p:cTn>
                              </p:par>
                            </p:childTnLst>
                          </p:cTn>
                        </p:par>
                        <p:par>
                          <p:cTn id="94" fill="hold">
                            <p:stCondLst>
                              <p:cond delay="1200"/>
                            </p:stCondLst>
                            <p:childTnLst>
                              <p:par>
                                <p:cTn id="95" presetID="10" presetClass="entr" presetSubtype="0" fill="hold" nodeType="afterEffect">
                                  <p:stCondLst>
                                    <p:cond delay="0"/>
                                  </p:stCondLst>
                                  <p:childTnLst>
                                    <p:set>
                                      <p:cBhvr>
                                        <p:cTn id="96" dur="1" fill="hold">
                                          <p:stCondLst>
                                            <p:cond delay="0"/>
                                          </p:stCondLst>
                                        </p:cTn>
                                        <p:tgtEl>
                                          <p:spTgt spid="4"/>
                                        </p:tgtEl>
                                        <p:attrNameLst>
                                          <p:attrName>style.visibility</p:attrName>
                                        </p:attrNameLst>
                                      </p:cBhvr>
                                      <p:to>
                                        <p:strVal val="visible"/>
                                      </p:to>
                                    </p:set>
                                    <p:animEffect transition="in" filter="fade">
                                      <p:cBhvr>
                                        <p:cTn id="97" dur="500"/>
                                        <p:tgtEl>
                                          <p:spTgt spid="4"/>
                                        </p:tgtEl>
                                      </p:cBhvr>
                                    </p:animEffect>
                                  </p:childTnLst>
                                </p:cTn>
                              </p:par>
                              <p:par>
                                <p:cTn id="98" presetID="10" presetClass="entr" presetSubtype="0" fill="hold" nodeType="withEffect">
                                  <p:stCondLst>
                                    <p:cond delay="100"/>
                                  </p:stCondLst>
                                  <p:childTnLst>
                                    <p:set>
                                      <p:cBhvr>
                                        <p:cTn id="99" dur="1" fill="hold">
                                          <p:stCondLst>
                                            <p:cond delay="0"/>
                                          </p:stCondLst>
                                        </p:cTn>
                                        <p:tgtEl>
                                          <p:spTgt spid="5"/>
                                        </p:tgtEl>
                                        <p:attrNameLst>
                                          <p:attrName>style.visibility</p:attrName>
                                        </p:attrNameLst>
                                      </p:cBhvr>
                                      <p:to>
                                        <p:strVal val="visible"/>
                                      </p:to>
                                    </p:set>
                                    <p:animEffect transition="in" filter="fade">
                                      <p:cBhvr>
                                        <p:cTn id="100" dur="500"/>
                                        <p:tgtEl>
                                          <p:spTgt spid="5"/>
                                        </p:tgtEl>
                                      </p:cBhvr>
                                    </p:animEffect>
                                  </p:childTnLst>
                                </p:cTn>
                              </p:par>
                            </p:childTnLst>
                          </p:cTn>
                        </p:par>
                        <p:par>
                          <p:cTn id="101" fill="hold">
                            <p:stCondLst>
                              <p:cond delay="1800"/>
                            </p:stCondLst>
                            <p:childTnLst>
                              <p:par>
                                <p:cTn id="102" presetID="10" presetClass="entr" presetSubtype="0" fill="hold" grpId="0" nodeType="afterEffect">
                                  <p:stCondLst>
                                    <p:cond delay="0"/>
                                  </p:stCondLst>
                                  <p:childTnLst>
                                    <p:set>
                                      <p:cBhvr>
                                        <p:cTn id="103" dur="1" fill="hold">
                                          <p:stCondLst>
                                            <p:cond delay="0"/>
                                          </p:stCondLst>
                                        </p:cTn>
                                        <p:tgtEl>
                                          <p:spTgt spid="102"/>
                                        </p:tgtEl>
                                        <p:attrNameLst>
                                          <p:attrName>style.visibility</p:attrName>
                                        </p:attrNameLst>
                                      </p:cBhvr>
                                      <p:to>
                                        <p:strVal val="visible"/>
                                      </p:to>
                                    </p:set>
                                    <p:animEffect transition="in" filter="fade">
                                      <p:cBhvr>
                                        <p:cTn id="104" dur="500"/>
                                        <p:tgtEl>
                                          <p:spTgt spid="102"/>
                                        </p:tgtEl>
                                      </p:cBhvr>
                                    </p:animEffect>
                                  </p:childTnLst>
                                </p:cTn>
                              </p:par>
                              <p:par>
                                <p:cTn id="105" presetID="10" presetClass="entr" presetSubtype="0" fill="hold" grpId="0" nodeType="withEffect">
                                  <p:stCondLst>
                                    <p:cond delay="100"/>
                                  </p:stCondLst>
                                  <p:childTnLst>
                                    <p:set>
                                      <p:cBhvr>
                                        <p:cTn id="106" dur="1" fill="hold">
                                          <p:stCondLst>
                                            <p:cond delay="0"/>
                                          </p:stCondLst>
                                        </p:cTn>
                                        <p:tgtEl>
                                          <p:spTgt spid="97"/>
                                        </p:tgtEl>
                                        <p:attrNameLst>
                                          <p:attrName>style.visibility</p:attrName>
                                        </p:attrNameLst>
                                      </p:cBhvr>
                                      <p:to>
                                        <p:strVal val="visible"/>
                                      </p:to>
                                    </p:set>
                                    <p:animEffect transition="in" filter="fade">
                                      <p:cBhvr>
                                        <p:cTn id="107" dur="500"/>
                                        <p:tgtEl>
                                          <p:spTgt spid="97"/>
                                        </p:tgtEl>
                                      </p:cBhvr>
                                    </p:animEffect>
                                  </p:childTnLst>
                                </p:cTn>
                              </p:par>
                              <p:par>
                                <p:cTn id="108" presetID="10" presetClass="entr" presetSubtype="0" fill="hold" grpId="0" nodeType="withEffect">
                                  <p:stCondLst>
                                    <p:cond delay="200"/>
                                  </p:stCondLst>
                                  <p:childTnLst>
                                    <p:set>
                                      <p:cBhvr>
                                        <p:cTn id="109" dur="1" fill="hold">
                                          <p:stCondLst>
                                            <p:cond delay="0"/>
                                          </p:stCondLst>
                                        </p:cTn>
                                        <p:tgtEl>
                                          <p:spTgt spid="104"/>
                                        </p:tgtEl>
                                        <p:attrNameLst>
                                          <p:attrName>style.visibility</p:attrName>
                                        </p:attrNameLst>
                                      </p:cBhvr>
                                      <p:to>
                                        <p:strVal val="visible"/>
                                      </p:to>
                                    </p:set>
                                    <p:animEffect transition="in" filter="fade">
                                      <p:cBhvr>
                                        <p:cTn id="110" dur="500"/>
                                        <p:tgtEl>
                                          <p:spTgt spid="104"/>
                                        </p:tgtEl>
                                      </p:cBhvr>
                                    </p:animEffect>
                                  </p:childTnLst>
                                </p:cTn>
                              </p:par>
                              <p:par>
                                <p:cTn id="111" presetID="10" presetClass="entr" presetSubtype="0" fill="hold" grpId="0" nodeType="withEffect">
                                  <p:stCondLst>
                                    <p:cond delay="300"/>
                                  </p:stCondLst>
                                  <p:childTnLst>
                                    <p:set>
                                      <p:cBhvr>
                                        <p:cTn id="112" dur="1" fill="hold">
                                          <p:stCondLst>
                                            <p:cond delay="0"/>
                                          </p:stCondLst>
                                        </p:cTn>
                                        <p:tgtEl>
                                          <p:spTgt spid="100"/>
                                        </p:tgtEl>
                                        <p:attrNameLst>
                                          <p:attrName>style.visibility</p:attrName>
                                        </p:attrNameLst>
                                      </p:cBhvr>
                                      <p:to>
                                        <p:strVal val="visible"/>
                                      </p:to>
                                    </p:set>
                                    <p:animEffect transition="in" filter="fade">
                                      <p:cBhvr>
                                        <p:cTn id="113" dur="500"/>
                                        <p:tgtEl>
                                          <p:spTgt spid="100"/>
                                        </p:tgtEl>
                                      </p:cBhvr>
                                    </p:animEffect>
                                  </p:childTnLst>
                                </p:cTn>
                              </p:par>
                              <p:par>
                                <p:cTn id="114" presetID="10" presetClass="entr" presetSubtype="0" fill="hold" grpId="0" nodeType="withEffect">
                                  <p:stCondLst>
                                    <p:cond delay="400"/>
                                  </p:stCondLst>
                                  <p:childTnLst>
                                    <p:set>
                                      <p:cBhvr>
                                        <p:cTn id="115" dur="1" fill="hold">
                                          <p:stCondLst>
                                            <p:cond delay="0"/>
                                          </p:stCondLst>
                                        </p:cTn>
                                        <p:tgtEl>
                                          <p:spTgt spid="101"/>
                                        </p:tgtEl>
                                        <p:attrNameLst>
                                          <p:attrName>style.visibility</p:attrName>
                                        </p:attrNameLst>
                                      </p:cBhvr>
                                      <p:to>
                                        <p:strVal val="visible"/>
                                      </p:to>
                                    </p:set>
                                    <p:animEffect transition="in" filter="fade">
                                      <p:cBhvr>
                                        <p:cTn id="116" dur="500"/>
                                        <p:tgtEl>
                                          <p:spTgt spid="101"/>
                                        </p:tgtEl>
                                      </p:cBhvr>
                                    </p:animEffect>
                                  </p:childTnLst>
                                </p:cTn>
                              </p:par>
                              <p:par>
                                <p:cTn id="117" presetID="10" presetClass="entr" presetSubtype="0" fill="hold" grpId="0" nodeType="withEffect">
                                  <p:stCondLst>
                                    <p:cond delay="500"/>
                                  </p:stCondLst>
                                  <p:childTnLst>
                                    <p:set>
                                      <p:cBhvr>
                                        <p:cTn id="118" dur="1" fill="hold">
                                          <p:stCondLst>
                                            <p:cond delay="0"/>
                                          </p:stCondLst>
                                        </p:cTn>
                                        <p:tgtEl>
                                          <p:spTgt spid="107"/>
                                        </p:tgtEl>
                                        <p:attrNameLst>
                                          <p:attrName>style.visibility</p:attrName>
                                        </p:attrNameLst>
                                      </p:cBhvr>
                                      <p:to>
                                        <p:strVal val="visible"/>
                                      </p:to>
                                    </p:set>
                                    <p:animEffect transition="in" filter="fade">
                                      <p:cBhvr>
                                        <p:cTn id="119" dur="500"/>
                                        <p:tgtEl>
                                          <p:spTgt spid="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p:bldP spid="71" grpId="0"/>
      <p:bldP spid="72" grpId="0"/>
      <p:bldP spid="76" grpId="0"/>
      <p:bldP spid="81" grpId="0"/>
      <p:bldP spid="82" grpId="0"/>
      <p:bldP spid="83" grpId="0"/>
      <p:bldP spid="84" grpId="0"/>
      <p:bldP spid="85" grpId="0"/>
      <p:bldP spid="86" grpId="0"/>
      <p:bldP spid="87" grpId="0"/>
      <p:bldP spid="88" grpId="0"/>
      <p:bldP spid="89" grpId="0"/>
      <p:bldP spid="90" grpId="0"/>
      <p:bldP spid="91" grpId="0"/>
      <p:bldP spid="92" grpId="0"/>
      <p:bldP spid="93" grpId="0"/>
      <p:bldP spid="94" grpId="0"/>
      <p:bldP spid="95" grpId="0"/>
      <p:bldP spid="96" grpId="0"/>
      <p:bldP spid="66" grpId="0" animBg="1"/>
      <p:bldP spid="67" grpId="0" animBg="1"/>
      <p:bldP spid="68" grpId="0" animBg="1"/>
      <p:bldP spid="97" grpId="0" animBg="1"/>
      <p:bldP spid="98" grpId="0" animBg="1"/>
      <p:bldP spid="99" grpId="0" animBg="1"/>
      <p:bldP spid="100" grpId="0" animBg="1"/>
      <p:bldP spid="101" grpId="0" animBg="1"/>
      <p:bldP spid="102" grpId="0" animBg="1"/>
      <p:bldP spid="103" grpId="0" animBg="1"/>
      <p:bldP spid="104" grpId="0" animBg="1"/>
      <p:bldP spid="105" grpId="0" animBg="1"/>
      <p:bldP spid="106" grpId="0" animBg="1"/>
      <p:bldP spid="107" grpId="0" animBg="1"/>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44">
            <a:extLst>
              <a:ext uri="{FF2B5EF4-FFF2-40B4-BE49-F238E27FC236}">
                <a16:creationId xmlns:a16="http://schemas.microsoft.com/office/drawing/2014/main" id="{0C3F12EC-2CC0-492B-89FC-B8A7B25D8888}"/>
              </a:ext>
            </a:extLst>
          </p:cNvPr>
          <p:cNvSpPr>
            <a:spLocks noGrp="1"/>
          </p:cNvSpPr>
          <p:nvPr>
            <p:ph type="title"/>
          </p:nvPr>
        </p:nvSpPr>
        <p:spPr/>
        <p:txBody>
          <a:bodyPr/>
          <a:lstStyle/>
          <a:p>
            <a:r>
              <a:rPr lang="en-US"/>
              <a:t>AI Apps &amp; Agent Scenarios</a:t>
            </a:r>
          </a:p>
        </p:txBody>
      </p:sp>
      <p:sp>
        <p:nvSpPr>
          <p:cNvPr id="125" name="Freeform 363">
            <a:extLst>
              <a:ext uri="{FF2B5EF4-FFF2-40B4-BE49-F238E27FC236}">
                <a16:creationId xmlns:a16="http://schemas.microsoft.com/office/drawing/2014/main" id="{8421A35A-743B-4BE7-9FA9-82BE242EAA95}"/>
              </a:ext>
            </a:extLst>
          </p:cNvPr>
          <p:cNvSpPr>
            <a:spLocks/>
          </p:cNvSpPr>
          <p:nvPr/>
        </p:nvSpPr>
        <p:spPr bwMode="auto">
          <a:xfrm>
            <a:off x="7092555" y="1766036"/>
            <a:ext cx="405535" cy="245341"/>
          </a:xfrm>
          <a:custGeom>
            <a:avLst/>
            <a:gdLst>
              <a:gd name="T0" fmla="*/ 3327 w 4767"/>
              <a:gd name="T1" fmla="*/ 0 h 2880"/>
              <a:gd name="T2" fmla="*/ 1724 w 4767"/>
              <a:gd name="T3" fmla="*/ 0 h 2880"/>
              <a:gd name="T4" fmla="*/ 320 w 4767"/>
              <a:gd name="T5" fmla="*/ 1120 h 2880"/>
              <a:gd name="T6" fmla="*/ 320 w 4767"/>
              <a:gd name="T7" fmla="*/ 1119 h 2880"/>
              <a:gd name="T8" fmla="*/ 0 w 4767"/>
              <a:gd name="T9" fmla="*/ 1440 h 2880"/>
              <a:gd name="T10" fmla="*/ 320 w 4767"/>
              <a:gd name="T11" fmla="*/ 1760 h 2880"/>
              <a:gd name="T12" fmla="*/ 320 w 4767"/>
              <a:gd name="T13" fmla="*/ 1759 h 2880"/>
              <a:gd name="T14" fmla="*/ 1724 w 4767"/>
              <a:gd name="T15" fmla="*/ 2880 h 2880"/>
              <a:gd name="T16" fmla="*/ 3327 w 4767"/>
              <a:gd name="T17" fmla="*/ 2880 h 2880"/>
              <a:gd name="T18" fmla="*/ 4767 w 4767"/>
              <a:gd name="T19" fmla="*/ 1440 h 2880"/>
              <a:gd name="T20" fmla="*/ 4767 w 4767"/>
              <a:gd name="T21" fmla="*/ 1440 h 2880"/>
              <a:gd name="T22" fmla="*/ 3327 w 4767"/>
              <a:gd name="T23" fmla="*/ 0 h 2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67" h="2880">
                <a:moveTo>
                  <a:pt x="3327" y="0"/>
                </a:moveTo>
                <a:cubicBezTo>
                  <a:pt x="1724" y="0"/>
                  <a:pt x="1724" y="0"/>
                  <a:pt x="1724" y="0"/>
                </a:cubicBezTo>
                <a:cubicBezTo>
                  <a:pt x="1039" y="0"/>
                  <a:pt x="465" y="479"/>
                  <a:pt x="320" y="1120"/>
                </a:cubicBezTo>
                <a:cubicBezTo>
                  <a:pt x="320" y="1119"/>
                  <a:pt x="320" y="1119"/>
                  <a:pt x="320" y="1119"/>
                </a:cubicBezTo>
                <a:cubicBezTo>
                  <a:pt x="0" y="1440"/>
                  <a:pt x="0" y="1440"/>
                  <a:pt x="0" y="1440"/>
                </a:cubicBezTo>
                <a:cubicBezTo>
                  <a:pt x="320" y="1760"/>
                  <a:pt x="320" y="1760"/>
                  <a:pt x="320" y="1760"/>
                </a:cubicBezTo>
                <a:cubicBezTo>
                  <a:pt x="320" y="1759"/>
                  <a:pt x="320" y="1759"/>
                  <a:pt x="320" y="1759"/>
                </a:cubicBezTo>
                <a:cubicBezTo>
                  <a:pt x="465" y="2401"/>
                  <a:pt x="1039" y="2880"/>
                  <a:pt x="1724" y="2880"/>
                </a:cubicBezTo>
                <a:cubicBezTo>
                  <a:pt x="3327" y="2880"/>
                  <a:pt x="3327" y="2880"/>
                  <a:pt x="3327" y="2880"/>
                </a:cubicBezTo>
                <a:cubicBezTo>
                  <a:pt x="4122" y="2880"/>
                  <a:pt x="4767" y="2235"/>
                  <a:pt x="4767" y="1440"/>
                </a:cubicBezTo>
                <a:cubicBezTo>
                  <a:pt x="4767" y="1440"/>
                  <a:pt x="4767" y="1440"/>
                  <a:pt x="4767" y="1440"/>
                </a:cubicBezTo>
                <a:cubicBezTo>
                  <a:pt x="4767" y="644"/>
                  <a:pt x="4122" y="0"/>
                  <a:pt x="3327"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6" name="Freeform 364">
            <a:extLst>
              <a:ext uri="{FF2B5EF4-FFF2-40B4-BE49-F238E27FC236}">
                <a16:creationId xmlns:a16="http://schemas.microsoft.com/office/drawing/2014/main" id="{88E7DC27-FB65-4AE6-B10F-460D07B17919}"/>
              </a:ext>
            </a:extLst>
          </p:cNvPr>
          <p:cNvSpPr>
            <a:spLocks/>
          </p:cNvSpPr>
          <p:nvPr/>
        </p:nvSpPr>
        <p:spPr bwMode="auto">
          <a:xfrm>
            <a:off x="6979987" y="2038798"/>
            <a:ext cx="405535" cy="245341"/>
          </a:xfrm>
          <a:custGeom>
            <a:avLst/>
            <a:gdLst>
              <a:gd name="T0" fmla="*/ 4768 w 4768"/>
              <a:gd name="T1" fmla="*/ 1440 h 2880"/>
              <a:gd name="T2" fmla="*/ 4447 w 4768"/>
              <a:gd name="T3" fmla="*/ 1120 h 2880"/>
              <a:gd name="T4" fmla="*/ 4447 w 4768"/>
              <a:gd name="T5" fmla="*/ 1121 h 2880"/>
              <a:gd name="T6" fmla="*/ 3043 w 4768"/>
              <a:gd name="T7" fmla="*/ 0 h 2880"/>
              <a:gd name="T8" fmla="*/ 1440 w 4768"/>
              <a:gd name="T9" fmla="*/ 0 h 2880"/>
              <a:gd name="T10" fmla="*/ 0 w 4768"/>
              <a:gd name="T11" fmla="*/ 1440 h 2880"/>
              <a:gd name="T12" fmla="*/ 0 w 4768"/>
              <a:gd name="T13" fmla="*/ 1440 h 2880"/>
              <a:gd name="T14" fmla="*/ 1440 w 4768"/>
              <a:gd name="T15" fmla="*/ 2880 h 2880"/>
              <a:gd name="T16" fmla="*/ 3043 w 4768"/>
              <a:gd name="T17" fmla="*/ 2880 h 2880"/>
              <a:gd name="T18" fmla="*/ 4447 w 4768"/>
              <a:gd name="T19" fmla="*/ 1760 h 2880"/>
              <a:gd name="T20" fmla="*/ 4447 w 4768"/>
              <a:gd name="T21" fmla="*/ 1761 h 2880"/>
              <a:gd name="T22" fmla="*/ 4768 w 4768"/>
              <a:gd name="T23" fmla="*/ 1440 h 2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68" h="2880">
                <a:moveTo>
                  <a:pt x="4768" y="1440"/>
                </a:moveTo>
                <a:cubicBezTo>
                  <a:pt x="4447" y="1120"/>
                  <a:pt x="4447" y="1120"/>
                  <a:pt x="4447" y="1120"/>
                </a:cubicBezTo>
                <a:cubicBezTo>
                  <a:pt x="4447" y="1121"/>
                  <a:pt x="4447" y="1121"/>
                  <a:pt x="4447" y="1121"/>
                </a:cubicBezTo>
                <a:cubicBezTo>
                  <a:pt x="4302" y="479"/>
                  <a:pt x="3729" y="0"/>
                  <a:pt x="3043" y="0"/>
                </a:cubicBezTo>
                <a:cubicBezTo>
                  <a:pt x="1440" y="0"/>
                  <a:pt x="1440" y="0"/>
                  <a:pt x="1440" y="0"/>
                </a:cubicBezTo>
                <a:cubicBezTo>
                  <a:pt x="645" y="0"/>
                  <a:pt x="0" y="645"/>
                  <a:pt x="0" y="1440"/>
                </a:cubicBezTo>
                <a:cubicBezTo>
                  <a:pt x="0" y="1440"/>
                  <a:pt x="0" y="1440"/>
                  <a:pt x="0" y="1440"/>
                </a:cubicBezTo>
                <a:cubicBezTo>
                  <a:pt x="0" y="2236"/>
                  <a:pt x="645" y="2880"/>
                  <a:pt x="1440" y="2880"/>
                </a:cubicBezTo>
                <a:cubicBezTo>
                  <a:pt x="3043" y="2880"/>
                  <a:pt x="3043" y="2880"/>
                  <a:pt x="3043" y="2880"/>
                </a:cubicBezTo>
                <a:cubicBezTo>
                  <a:pt x="3729" y="2880"/>
                  <a:pt x="4302" y="2401"/>
                  <a:pt x="4447" y="1760"/>
                </a:cubicBezTo>
                <a:cubicBezTo>
                  <a:pt x="4447" y="1761"/>
                  <a:pt x="4447" y="1761"/>
                  <a:pt x="4447" y="1761"/>
                </a:cubicBezTo>
                <a:lnTo>
                  <a:pt x="4768" y="144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27" name="Group 211">
            <a:extLst>
              <a:ext uri="{FF2B5EF4-FFF2-40B4-BE49-F238E27FC236}">
                <a16:creationId xmlns:a16="http://schemas.microsoft.com/office/drawing/2014/main" id="{E0B6AFDD-E34C-40A9-A18A-B4FF16E04E3A}"/>
              </a:ext>
            </a:extLst>
          </p:cNvPr>
          <p:cNvGrpSpPr>
            <a:grpSpLocks noChangeAspect="1"/>
          </p:cNvGrpSpPr>
          <p:nvPr/>
        </p:nvGrpSpPr>
        <p:grpSpPr bwMode="auto">
          <a:xfrm>
            <a:off x="6991389" y="3995925"/>
            <a:ext cx="495300" cy="495300"/>
            <a:chOff x="4013" y="2781"/>
            <a:chExt cx="312" cy="312"/>
          </a:xfrm>
        </p:grpSpPr>
        <p:sp>
          <p:nvSpPr>
            <p:cNvPr id="128" name="Rectangle 212">
              <a:extLst>
                <a:ext uri="{FF2B5EF4-FFF2-40B4-BE49-F238E27FC236}">
                  <a16:creationId xmlns:a16="http://schemas.microsoft.com/office/drawing/2014/main" id="{B06DE2D1-172B-4265-97DC-75B5B6EF2455}"/>
                </a:ext>
              </a:extLst>
            </p:cNvPr>
            <p:cNvSpPr>
              <a:spLocks noChangeArrowheads="1"/>
            </p:cNvSpPr>
            <p:nvPr/>
          </p:nvSpPr>
          <p:spPr bwMode="auto">
            <a:xfrm>
              <a:off x="4013" y="2781"/>
              <a:ext cx="20" cy="6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9" name="Rectangle 213">
              <a:extLst>
                <a:ext uri="{FF2B5EF4-FFF2-40B4-BE49-F238E27FC236}">
                  <a16:creationId xmlns:a16="http://schemas.microsoft.com/office/drawing/2014/main" id="{E48657DC-EF66-4942-9A32-3C6A1F82806C}"/>
                </a:ext>
              </a:extLst>
            </p:cNvPr>
            <p:cNvSpPr>
              <a:spLocks noChangeArrowheads="1"/>
            </p:cNvSpPr>
            <p:nvPr/>
          </p:nvSpPr>
          <p:spPr bwMode="auto">
            <a:xfrm>
              <a:off x="4013" y="2781"/>
              <a:ext cx="68" cy="1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0" name="Rectangle 214">
              <a:extLst>
                <a:ext uri="{FF2B5EF4-FFF2-40B4-BE49-F238E27FC236}">
                  <a16:creationId xmlns:a16="http://schemas.microsoft.com/office/drawing/2014/main" id="{8FA26206-8A56-45DE-8330-DDEBEB8003BB}"/>
                </a:ext>
              </a:extLst>
            </p:cNvPr>
            <p:cNvSpPr>
              <a:spLocks noChangeArrowheads="1"/>
            </p:cNvSpPr>
            <p:nvPr/>
          </p:nvSpPr>
          <p:spPr bwMode="auto">
            <a:xfrm>
              <a:off x="4013" y="3074"/>
              <a:ext cx="68" cy="1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1" name="Rectangle 215">
              <a:extLst>
                <a:ext uri="{FF2B5EF4-FFF2-40B4-BE49-F238E27FC236}">
                  <a16:creationId xmlns:a16="http://schemas.microsoft.com/office/drawing/2014/main" id="{1BCCE753-242A-454E-9CB7-BF144EC1973C}"/>
                </a:ext>
              </a:extLst>
            </p:cNvPr>
            <p:cNvSpPr>
              <a:spLocks noChangeArrowheads="1"/>
            </p:cNvSpPr>
            <p:nvPr/>
          </p:nvSpPr>
          <p:spPr bwMode="auto">
            <a:xfrm>
              <a:off x="4013" y="3025"/>
              <a:ext cx="20" cy="6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2" name="Rectangle 216">
              <a:extLst>
                <a:ext uri="{FF2B5EF4-FFF2-40B4-BE49-F238E27FC236}">
                  <a16:creationId xmlns:a16="http://schemas.microsoft.com/office/drawing/2014/main" id="{F6C1A3DC-54A1-41A9-85E9-2DECAE1DFBDC}"/>
                </a:ext>
              </a:extLst>
            </p:cNvPr>
            <p:cNvSpPr>
              <a:spLocks noChangeArrowheads="1"/>
            </p:cNvSpPr>
            <p:nvPr/>
          </p:nvSpPr>
          <p:spPr bwMode="auto">
            <a:xfrm>
              <a:off x="4305" y="2781"/>
              <a:ext cx="20" cy="6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3" name="Rectangle 217">
              <a:extLst>
                <a:ext uri="{FF2B5EF4-FFF2-40B4-BE49-F238E27FC236}">
                  <a16:creationId xmlns:a16="http://schemas.microsoft.com/office/drawing/2014/main" id="{7B78CD1B-1A3B-47C6-AB3E-79225E745D46}"/>
                </a:ext>
              </a:extLst>
            </p:cNvPr>
            <p:cNvSpPr>
              <a:spLocks noChangeArrowheads="1"/>
            </p:cNvSpPr>
            <p:nvPr/>
          </p:nvSpPr>
          <p:spPr bwMode="auto">
            <a:xfrm>
              <a:off x="4257" y="2781"/>
              <a:ext cx="68" cy="1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4" name="Rectangle 218">
              <a:extLst>
                <a:ext uri="{FF2B5EF4-FFF2-40B4-BE49-F238E27FC236}">
                  <a16:creationId xmlns:a16="http://schemas.microsoft.com/office/drawing/2014/main" id="{4D32E38E-4B52-4FD3-9236-3E96376682FD}"/>
                </a:ext>
              </a:extLst>
            </p:cNvPr>
            <p:cNvSpPr>
              <a:spLocks noChangeArrowheads="1"/>
            </p:cNvSpPr>
            <p:nvPr/>
          </p:nvSpPr>
          <p:spPr bwMode="auto">
            <a:xfrm>
              <a:off x="4257" y="3074"/>
              <a:ext cx="68" cy="1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5" name="Rectangle 219">
              <a:extLst>
                <a:ext uri="{FF2B5EF4-FFF2-40B4-BE49-F238E27FC236}">
                  <a16:creationId xmlns:a16="http://schemas.microsoft.com/office/drawing/2014/main" id="{11913F72-A4FD-4EEA-9DD8-91EE4FE26DFA}"/>
                </a:ext>
              </a:extLst>
            </p:cNvPr>
            <p:cNvSpPr>
              <a:spLocks noChangeArrowheads="1"/>
            </p:cNvSpPr>
            <p:nvPr/>
          </p:nvSpPr>
          <p:spPr bwMode="auto">
            <a:xfrm>
              <a:off x="4305" y="3025"/>
              <a:ext cx="20" cy="6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6" name="Oval 220">
              <a:extLst>
                <a:ext uri="{FF2B5EF4-FFF2-40B4-BE49-F238E27FC236}">
                  <a16:creationId xmlns:a16="http://schemas.microsoft.com/office/drawing/2014/main" id="{7CE26F25-2C24-4266-9575-87D5A0CF8B01}"/>
                </a:ext>
              </a:extLst>
            </p:cNvPr>
            <p:cNvSpPr>
              <a:spLocks noChangeArrowheads="1"/>
            </p:cNvSpPr>
            <p:nvPr/>
          </p:nvSpPr>
          <p:spPr bwMode="auto">
            <a:xfrm>
              <a:off x="4140" y="2869"/>
              <a:ext cx="58" cy="5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7" name="Freeform 221">
              <a:extLst>
                <a:ext uri="{FF2B5EF4-FFF2-40B4-BE49-F238E27FC236}">
                  <a16:creationId xmlns:a16="http://schemas.microsoft.com/office/drawing/2014/main" id="{3C067E9D-6A13-4335-99F6-1A55DAF63F00}"/>
                </a:ext>
              </a:extLst>
            </p:cNvPr>
            <p:cNvSpPr>
              <a:spLocks/>
            </p:cNvSpPr>
            <p:nvPr/>
          </p:nvSpPr>
          <p:spPr bwMode="auto">
            <a:xfrm>
              <a:off x="4111" y="2947"/>
              <a:ext cx="117" cy="58"/>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5"/>
                    <a:pt x="115" y="0"/>
                    <a:pt x="256" y="0"/>
                  </a:cubicBezTo>
                  <a:cubicBezTo>
                    <a:pt x="397" y="0"/>
                    <a:pt x="512" y="115"/>
                    <a:pt x="512" y="256"/>
                  </a:cubicBezTo>
                  <a:lnTo>
                    <a:pt x="0" y="25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pic>
        <p:nvPicPr>
          <p:cNvPr id="8" name="Graphic 7" descr="Smiling face with solid fill">
            <a:extLst>
              <a:ext uri="{FF2B5EF4-FFF2-40B4-BE49-F238E27FC236}">
                <a16:creationId xmlns:a16="http://schemas.microsoft.com/office/drawing/2014/main" id="{86F02347-4676-4ACE-96FB-442A31B5030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935820" y="2780580"/>
            <a:ext cx="606517" cy="606517"/>
          </a:xfrm>
          <a:prstGeom prst="rect">
            <a:avLst/>
          </a:prstGeom>
        </p:spPr>
      </p:pic>
      <p:pic>
        <p:nvPicPr>
          <p:cNvPr id="74" name="Picture 8" descr="Image result for minsur">
            <a:extLst>
              <a:ext uri="{FF2B5EF4-FFF2-40B4-BE49-F238E27FC236}">
                <a16:creationId xmlns:a16="http://schemas.microsoft.com/office/drawing/2014/main" id="{2DC44F94-5FE2-47C3-9D58-5521276C9F0C}"/>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l="5490" t="21507" r="5490" b="46666"/>
          <a:stretch/>
        </p:blipFill>
        <p:spPr bwMode="auto">
          <a:xfrm>
            <a:off x="6442872" y="5662102"/>
            <a:ext cx="1633311" cy="514598"/>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76A8C790-2CBA-46B7-92C6-63973EAD51FF}"/>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88263" y="5613471"/>
            <a:ext cx="546986" cy="611860"/>
          </a:xfrm>
          <a:prstGeom prst="rect">
            <a:avLst/>
          </a:prstGeom>
          <a:noFill/>
          <a:extLst>
            <a:ext uri="{909E8E84-426E-40DD-AFC4-6F175D3DCCD1}">
              <a14:hiddenFill xmlns:a14="http://schemas.microsoft.com/office/drawing/2010/main">
                <a:solidFill>
                  <a:srgbClr val="FFFFFF"/>
                </a:solidFill>
              </a14:hiddenFill>
            </a:ext>
          </a:extLst>
        </p:spPr>
      </p:pic>
      <p:sp>
        <p:nvSpPr>
          <p:cNvPr id="83" name="Text Placeholder 28">
            <a:extLst>
              <a:ext uri="{FF2B5EF4-FFF2-40B4-BE49-F238E27FC236}">
                <a16:creationId xmlns:a16="http://schemas.microsoft.com/office/drawing/2014/main" id="{EA2DE001-D1D4-4704-BC1C-E7B8A238ADD2}"/>
              </a:ext>
            </a:extLst>
          </p:cNvPr>
          <p:cNvSpPr txBox="1">
            <a:spLocks/>
          </p:cNvSpPr>
          <p:nvPr/>
        </p:nvSpPr>
        <p:spPr>
          <a:xfrm>
            <a:off x="2324877" y="4089687"/>
            <a:ext cx="3378926" cy="307777"/>
          </a:xfrm>
          <a:prstGeom prst="rect">
            <a:avLst/>
          </a:prstGeom>
        </p:spPr>
        <p:txBody>
          <a:bodyPr vert="horz" wrap="square" lIns="0" tIns="0" rIns="0" bIns="0" rtlCol="0">
            <a:noAutofit/>
          </a:bodyPr>
          <a:lstStyle>
            <a:defPPr>
              <a:defRPr lang="en-US"/>
            </a:defPPr>
            <a:lvl1pPr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solidFill>
                  <a:schemeClr val="accent2"/>
                </a:solidFill>
                <a:latin typeface="+mj-lt"/>
                <a:cs typeface="Segoe UI" panose="020B0502040204020203" pitchFamily="34" charset="0"/>
              </a:defRPr>
            </a:lvl1pPr>
            <a:lvl2pPr marL="0" marR="0" indent="0" algn="ctr" defTabSz="932742" fontAlgn="auto">
              <a:lnSpc>
                <a:spcPct val="100000"/>
              </a:lnSpc>
              <a:spcBef>
                <a:spcPct val="20000"/>
              </a:spcBef>
              <a:spcAft>
                <a:spcPts val="0"/>
              </a:spcAft>
              <a:buClrTx/>
              <a:buSzPct val="90000"/>
              <a:buFont typeface="Wingdings" panose="05000000000000000000" pitchFamily="2" charset="2"/>
              <a:buNone/>
              <a:tabLst/>
              <a:defRPr spc="0" baseline="0">
                <a:solidFill>
                  <a:schemeClr val="accent2"/>
                </a:solidFill>
              </a:defRPr>
            </a:lvl2pPr>
            <a:lvl3pPr marL="0" marR="0" indent="0" algn="ctr" defTabSz="932742" fontAlgn="auto">
              <a:lnSpc>
                <a:spcPct val="100000"/>
              </a:lnSpc>
              <a:spcBef>
                <a:spcPct val="20000"/>
              </a:spcBef>
              <a:spcAft>
                <a:spcPts val="0"/>
              </a:spcAft>
              <a:buClrTx/>
              <a:buSzPct val="90000"/>
              <a:buFont typeface="Wingdings" panose="05000000000000000000" pitchFamily="2" charset="2"/>
              <a:buNone/>
              <a:tabLst/>
              <a:defRPr sz="1400" spc="0" baseline="0">
                <a:solidFill>
                  <a:schemeClr val="accent2"/>
                </a:solidFill>
              </a:defRPr>
            </a:lvl3pPr>
            <a:lvl4pPr marL="0" marR="0" indent="0" algn="ctr" defTabSz="932742" fontAlgn="auto">
              <a:lnSpc>
                <a:spcPct val="100000"/>
              </a:lnSpc>
              <a:spcBef>
                <a:spcPct val="20000"/>
              </a:spcBef>
              <a:spcAft>
                <a:spcPts val="0"/>
              </a:spcAft>
              <a:buClrTx/>
              <a:buSzPct val="90000"/>
              <a:buFont typeface="Wingdings" panose="05000000000000000000" pitchFamily="2" charset="2"/>
              <a:buNone/>
              <a:tabLst/>
              <a:defRPr sz="1200" spc="0" baseline="0">
                <a:solidFill>
                  <a:schemeClr val="accent2"/>
                </a:solidFill>
              </a:defRPr>
            </a:lvl4pPr>
            <a:lvl5pPr marL="0" marR="0" indent="0" algn="ctr" defTabSz="932742" fontAlgn="auto">
              <a:lnSpc>
                <a:spcPct val="100000"/>
              </a:lnSpc>
              <a:spcBef>
                <a:spcPct val="20000"/>
              </a:spcBef>
              <a:spcAft>
                <a:spcPts val="0"/>
              </a:spcAft>
              <a:buClrTx/>
              <a:buSzPct val="90000"/>
              <a:buFont typeface="Wingdings" panose="05000000000000000000" pitchFamily="2" charset="2"/>
              <a:buNone/>
              <a:tabLst/>
              <a:defRPr sz="1200" spc="0" baseline="0">
                <a:solidFill>
                  <a:schemeClr val="accent2"/>
                </a:soli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8D4">
                    <a:lumMod val="60000"/>
                    <a:lumOff val="40000"/>
                  </a:srgbClr>
                </a:solidFill>
                <a:effectLst/>
                <a:uLnTx/>
                <a:uFillTx/>
                <a:latin typeface="Segoe UI Semibold"/>
                <a:ea typeface="+mn-ea"/>
                <a:cs typeface="Segoe UI" panose="020B0502040204020203" pitchFamily="34" charset="0"/>
              </a:rPr>
              <a:t>Object detection</a:t>
            </a:r>
          </a:p>
        </p:txBody>
      </p:sp>
      <p:sp>
        <p:nvSpPr>
          <p:cNvPr id="84" name="Text Placeholder 29">
            <a:extLst>
              <a:ext uri="{FF2B5EF4-FFF2-40B4-BE49-F238E27FC236}">
                <a16:creationId xmlns:a16="http://schemas.microsoft.com/office/drawing/2014/main" id="{60CDDF09-A3D8-43FC-B6A4-B52C5D520009}"/>
              </a:ext>
            </a:extLst>
          </p:cNvPr>
          <p:cNvSpPr txBox="1">
            <a:spLocks/>
          </p:cNvSpPr>
          <p:nvPr/>
        </p:nvSpPr>
        <p:spPr>
          <a:xfrm>
            <a:off x="2324877" y="2929950"/>
            <a:ext cx="3378926" cy="307777"/>
          </a:xfrm>
          <a:prstGeom prst="rect">
            <a:avLst/>
          </a:prstGeom>
        </p:spPr>
        <p:txBody>
          <a:bodyPr vert="horz" wrap="square" lIns="0" tIns="0" rIns="0" bIns="0" rtlCol="0">
            <a:noAutofit/>
          </a:bodyPr>
          <a:lstStyle>
            <a:defPPr>
              <a:defRPr lang="en-US"/>
            </a:defPPr>
            <a:lvl1pPr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solidFill>
                  <a:schemeClr val="accent2"/>
                </a:solidFill>
                <a:latin typeface="+mj-lt"/>
                <a:cs typeface="Segoe UI" panose="020B0502040204020203" pitchFamily="34" charset="0"/>
              </a:defRPr>
            </a:lvl1pPr>
            <a:lvl2pPr marL="0" marR="0" indent="0" algn="ctr" defTabSz="932742" fontAlgn="auto">
              <a:lnSpc>
                <a:spcPct val="100000"/>
              </a:lnSpc>
              <a:spcBef>
                <a:spcPct val="20000"/>
              </a:spcBef>
              <a:spcAft>
                <a:spcPts val="0"/>
              </a:spcAft>
              <a:buClrTx/>
              <a:buSzPct val="90000"/>
              <a:buFont typeface="Wingdings" panose="05000000000000000000" pitchFamily="2" charset="2"/>
              <a:buNone/>
              <a:tabLst/>
              <a:defRPr spc="0" baseline="0">
                <a:solidFill>
                  <a:schemeClr val="accent2"/>
                </a:solidFill>
              </a:defRPr>
            </a:lvl2pPr>
            <a:lvl3pPr marL="0" marR="0" indent="0" algn="ctr" defTabSz="932742" fontAlgn="auto">
              <a:lnSpc>
                <a:spcPct val="100000"/>
              </a:lnSpc>
              <a:spcBef>
                <a:spcPct val="20000"/>
              </a:spcBef>
              <a:spcAft>
                <a:spcPts val="0"/>
              </a:spcAft>
              <a:buClrTx/>
              <a:buSzPct val="90000"/>
              <a:buFont typeface="Wingdings" panose="05000000000000000000" pitchFamily="2" charset="2"/>
              <a:buNone/>
              <a:tabLst/>
              <a:defRPr sz="1400" spc="0" baseline="0">
                <a:solidFill>
                  <a:schemeClr val="accent2"/>
                </a:solidFill>
              </a:defRPr>
            </a:lvl3pPr>
            <a:lvl4pPr marL="0" marR="0" indent="0" algn="ctr" defTabSz="932742" fontAlgn="auto">
              <a:lnSpc>
                <a:spcPct val="100000"/>
              </a:lnSpc>
              <a:spcBef>
                <a:spcPct val="20000"/>
              </a:spcBef>
              <a:spcAft>
                <a:spcPts val="0"/>
              </a:spcAft>
              <a:buClrTx/>
              <a:buSzPct val="90000"/>
              <a:buFont typeface="Wingdings" panose="05000000000000000000" pitchFamily="2" charset="2"/>
              <a:buNone/>
              <a:tabLst/>
              <a:defRPr sz="1200" spc="0" baseline="0">
                <a:solidFill>
                  <a:schemeClr val="accent2"/>
                </a:solidFill>
              </a:defRPr>
            </a:lvl4pPr>
            <a:lvl5pPr marL="0" marR="0" indent="0" algn="ctr" defTabSz="932742" fontAlgn="auto">
              <a:lnSpc>
                <a:spcPct val="100000"/>
              </a:lnSpc>
              <a:spcBef>
                <a:spcPct val="20000"/>
              </a:spcBef>
              <a:spcAft>
                <a:spcPts val="0"/>
              </a:spcAft>
              <a:buClrTx/>
              <a:buSzPct val="90000"/>
              <a:buFont typeface="Wingdings" panose="05000000000000000000" pitchFamily="2" charset="2"/>
              <a:buNone/>
              <a:tabLst/>
              <a:defRPr sz="1200" spc="0" baseline="0">
                <a:solidFill>
                  <a:schemeClr val="accent2"/>
                </a:soli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8D4">
                    <a:lumMod val="60000"/>
                    <a:lumOff val="40000"/>
                  </a:srgbClr>
                </a:solidFill>
                <a:effectLst/>
                <a:uLnTx/>
                <a:uFillTx/>
                <a:latin typeface="Segoe UI Semibold"/>
                <a:ea typeface="+mn-ea"/>
                <a:cs typeface="Segoe UI" panose="020B0502040204020203" pitchFamily="34" charset="0"/>
              </a:rPr>
              <a:t>Personalization</a:t>
            </a:r>
          </a:p>
        </p:txBody>
      </p:sp>
      <p:sp>
        <p:nvSpPr>
          <p:cNvPr id="85" name="Text Placeholder 31">
            <a:extLst>
              <a:ext uri="{FF2B5EF4-FFF2-40B4-BE49-F238E27FC236}">
                <a16:creationId xmlns:a16="http://schemas.microsoft.com/office/drawing/2014/main" id="{59088A43-628D-4974-82EA-3A823D6896FC}"/>
              </a:ext>
            </a:extLst>
          </p:cNvPr>
          <p:cNvSpPr txBox="1">
            <a:spLocks/>
          </p:cNvSpPr>
          <p:nvPr/>
        </p:nvSpPr>
        <p:spPr>
          <a:xfrm>
            <a:off x="7860338" y="4089687"/>
            <a:ext cx="2379929" cy="307777"/>
          </a:xfrm>
          <a:prstGeom prst="rect">
            <a:avLst/>
          </a:prstGeom>
        </p:spPr>
        <p:txBody>
          <a:bodyPr vert="horz" wrap="square" lIns="0" tIns="0" rIns="0" bIns="0" rtlCol="0">
            <a:noAutofit/>
          </a:bodyPr>
          <a:lstStyle>
            <a:defPPr>
              <a:defRPr lang="en-US"/>
            </a:defPPr>
            <a:lvl1pPr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solidFill>
                  <a:schemeClr val="accent2"/>
                </a:solidFill>
                <a:latin typeface="+mj-lt"/>
                <a:cs typeface="Segoe UI" panose="020B0502040204020203" pitchFamily="34" charset="0"/>
              </a:defRPr>
            </a:lvl1pPr>
            <a:lvl2pPr marL="0" marR="0" indent="0" algn="ctr" defTabSz="932742" fontAlgn="auto">
              <a:lnSpc>
                <a:spcPct val="100000"/>
              </a:lnSpc>
              <a:spcBef>
                <a:spcPct val="20000"/>
              </a:spcBef>
              <a:spcAft>
                <a:spcPts val="0"/>
              </a:spcAft>
              <a:buClrTx/>
              <a:buSzPct val="90000"/>
              <a:buFont typeface="Wingdings" panose="05000000000000000000" pitchFamily="2" charset="2"/>
              <a:buNone/>
              <a:tabLst/>
              <a:defRPr spc="0" baseline="0">
                <a:solidFill>
                  <a:schemeClr val="accent2"/>
                </a:solidFill>
              </a:defRPr>
            </a:lvl2pPr>
            <a:lvl3pPr marL="0" marR="0" indent="0" algn="ctr" defTabSz="932742" fontAlgn="auto">
              <a:lnSpc>
                <a:spcPct val="100000"/>
              </a:lnSpc>
              <a:spcBef>
                <a:spcPct val="20000"/>
              </a:spcBef>
              <a:spcAft>
                <a:spcPts val="0"/>
              </a:spcAft>
              <a:buClrTx/>
              <a:buSzPct val="90000"/>
              <a:buFont typeface="Wingdings" panose="05000000000000000000" pitchFamily="2" charset="2"/>
              <a:buNone/>
              <a:tabLst/>
              <a:defRPr sz="1400" spc="0" baseline="0">
                <a:solidFill>
                  <a:schemeClr val="accent2"/>
                </a:solidFill>
              </a:defRPr>
            </a:lvl3pPr>
            <a:lvl4pPr marL="0" marR="0" indent="0" algn="ctr" defTabSz="932742" fontAlgn="auto">
              <a:lnSpc>
                <a:spcPct val="100000"/>
              </a:lnSpc>
              <a:spcBef>
                <a:spcPct val="20000"/>
              </a:spcBef>
              <a:spcAft>
                <a:spcPts val="0"/>
              </a:spcAft>
              <a:buClrTx/>
              <a:buSzPct val="90000"/>
              <a:buFont typeface="Wingdings" panose="05000000000000000000" pitchFamily="2" charset="2"/>
              <a:buNone/>
              <a:tabLst/>
              <a:defRPr sz="1200" spc="0" baseline="0">
                <a:solidFill>
                  <a:schemeClr val="accent2"/>
                </a:solidFill>
              </a:defRPr>
            </a:lvl4pPr>
            <a:lvl5pPr marL="0" marR="0" indent="0" algn="ctr" defTabSz="932742" fontAlgn="auto">
              <a:lnSpc>
                <a:spcPct val="100000"/>
              </a:lnSpc>
              <a:spcBef>
                <a:spcPct val="20000"/>
              </a:spcBef>
              <a:spcAft>
                <a:spcPts val="0"/>
              </a:spcAft>
              <a:buClrTx/>
              <a:buSzPct val="90000"/>
              <a:buFont typeface="Wingdings" panose="05000000000000000000" pitchFamily="2" charset="2"/>
              <a:buNone/>
              <a:tabLst/>
              <a:defRPr sz="1200" spc="0" baseline="0">
                <a:solidFill>
                  <a:schemeClr val="accent2"/>
                </a:soli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8D4">
                    <a:lumMod val="60000"/>
                    <a:lumOff val="40000"/>
                  </a:srgbClr>
                </a:solidFill>
                <a:effectLst/>
                <a:uLnTx/>
                <a:uFillTx/>
                <a:latin typeface="Segoe UI Semibold"/>
                <a:ea typeface="+mn-ea"/>
                <a:cs typeface="Segoe UI" panose="020B0502040204020203" pitchFamily="34" charset="0"/>
              </a:rPr>
              <a:t>Intelligent agents</a:t>
            </a:r>
          </a:p>
        </p:txBody>
      </p:sp>
      <p:sp>
        <p:nvSpPr>
          <p:cNvPr id="86" name="Text Placeholder 28">
            <a:extLst>
              <a:ext uri="{FF2B5EF4-FFF2-40B4-BE49-F238E27FC236}">
                <a16:creationId xmlns:a16="http://schemas.microsoft.com/office/drawing/2014/main" id="{745AB8D8-BBD8-4396-9941-40755AADCE96}"/>
              </a:ext>
            </a:extLst>
          </p:cNvPr>
          <p:cNvSpPr txBox="1">
            <a:spLocks/>
          </p:cNvSpPr>
          <p:nvPr/>
        </p:nvSpPr>
        <p:spPr>
          <a:xfrm>
            <a:off x="7860338" y="1762158"/>
            <a:ext cx="3350654" cy="299443"/>
          </a:xfrm>
          <a:prstGeom prst="rect">
            <a:avLst/>
          </a:prstGeom>
        </p:spPr>
        <p:txBody>
          <a:bodyPr vert="horz" wrap="square" lIns="0" tIns="0" rIns="0" bIns="0" rtlCol="0">
            <a:noAutofit/>
          </a:bodyPr>
          <a:lstStyle>
            <a:defPPr>
              <a:defRPr lang="en-US"/>
            </a:defPPr>
            <a:lvl1pPr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solidFill>
                  <a:schemeClr val="accent2"/>
                </a:solidFill>
                <a:latin typeface="+mj-lt"/>
                <a:cs typeface="Segoe UI" panose="020B0502040204020203" pitchFamily="34" charset="0"/>
              </a:defRPr>
            </a:lvl1pPr>
            <a:lvl2pPr marL="0" marR="0" indent="0" algn="ctr" defTabSz="932742" fontAlgn="auto">
              <a:lnSpc>
                <a:spcPct val="100000"/>
              </a:lnSpc>
              <a:spcBef>
                <a:spcPct val="20000"/>
              </a:spcBef>
              <a:spcAft>
                <a:spcPts val="0"/>
              </a:spcAft>
              <a:buClrTx/>
              <a:buSzPct val="90000"/>
              <a:buFont typeface="Wingdings" panose="05000000000000000000" pitchFamily="2" charset="2"/>
              <a:buNone/>
              <a:tabLst/>
              <a:defRPr spc="0" baseline="0">
                <a:solidFill>
                  <a:schemeClr val="accent2"/>
                </a:solidFill>
              </a:defRPr>
            </a:lvl2pPr>
            <a:lvl3pPr marL="0" marR="0" indent="0" algn="ctr" defTabSz="932742" fontAlgn="auto">
              <a:lnSpc>
                <a:spcPct val="100000"/>
              </a:lnSpc>
              <a:spcBef>
                <a:spcPct val="20000"/>
              </a:spcBef>
              <a:spcAft>
                <a:spcPts val="0"/>
              </a:spcAft>
              <a:buClrTx/>
              <a:buSzPct val="90000"/>
              <a:buFont typeface="Wingdings" panose="05000000000000000000" pitchFamily="2" charset="2"/>
              <a:buNone/>
              <a:tabLst/>
              <a:defRPr sz="1400" spc="0" baseline="0">
                <a:solidFill>
                  <a:schemeClr val="accent2"/>
                </a:solidFill>
              </a:defRPr>
            </a:lvl3pPr>
            <a:lvl4pPr marL="0" marR="0" indent="0" algn="ctr" defTabSz="932742" fontAlgn="auto">
              <a:lnSpc>
                <a:spcPct val="100000"/>
              </a:lnSpc>
              <a:spcBef>
                <a:spcPct val="20000"/>
              </a:spcBef>
              <a:spcAft>
                <a:spcPts val="0"/>
              </a:spcAft>
              <a:buClrTx/>
              <a:buSzPct val="90000"/>
              <a:buFont typeface="Wingdings" panose="05000000000000000000" pitchFamily="2" charset="2"/>
              <a:buNone/>
              <a:tabLst/>
              <a:defRPr sz="1200" spc="0" baseline="0">
                <a:solidFill>
                  <a:schemeClr val="accent2"/>
                </a:solidFill>
              </a:defRPr>
            </a:lvl4pPr>
            <a:lvl5pPr marL="0" marR="0" indent="0" algn="ctr" defTabSz="932742" fontAlgn="auto">
              <a:lnSpc>
                <a:spcPct val="100000"/>
              </a:lnSpc>
              <a:spcBef>
                <a:spcPct val="20000"/>
              </a:spcBef>
              <a:spcAft>
                <a:spcPts val="0"/>
              </a:spcAft>
              <a:buClrTx/>
              <a:buSzPct val="90000"/>
              <a:buFont typeface="Wingdings" panose="05000000000000000000" pitchFamily="2" charset="2"/>
              <a:buNone/>
              <a:tabLst/>
              <a:defRPr sz="1200" spc="0" baseline="0">
                <a:solidFill>
                  <a:schemeClr val="accent2"/>
                </a:soli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8D4">
                    <a:lumMod val="60000"/>
                    <a:lumOff val="40000"/>
                  </a:srgbClr>
                </a:solidFill>
                <a:effectLst/>
                <a:uLnTx/>
                <a:uFillTx/>
                <a:latin typeface="Segoe UI Semibold"/>
                <a:ea typeface="+mn-ea"/>
                <a:cs typeface="Segoe UI" panose="020B0502040204020203" pitchFamily="34" charset="0"/>
              </a:rPr>
              <a:t>Intelligent customer support</a:t>
            </a:r>
          </a:p>
        </p:txBody>
      </p:sp>
      <p:sp>
        <p:nvSpPr>
          <p:cNvPr id="87" name="Text Placeholder 28">
            <a:extLst>
              <a:ext uri="{FF2B5EF4-FFF2-40B4-BE49-F238E27FC236}">
                <a16:creationId xmlns:a16="http://schemas.microsoft.com/office/drawing/2014/main" id="{9F99C1AD-65DD-40BF-95A5-AD9FE517E61D}"/>
              </a:ext>
            </a:extLst>
          </p:cNvPr>
          <p:cNvSpPr txBox="1">
            <a:spLocks/>
          </p:cNvSpPr>
          <p:nvPr/>
        </p:nvSpPr>
        <p:spPr>
          <a:xfrm>
            <a:off x="7860338" y="2929950"/>
            <a:ext cx="2379929" cy="307777"/>
          </a:xfrm>
          <a:prstGeom prst="rect">
            <a:avLst/>
          </a:prstGeom>
        </p:spPr>
        <p:txBody>
          <a:bodyPr vert="horz" wrap="square" lIns="0" tIns="0" rIns="0" bIns="0" rtlCol="0">
            <a:noAutofit/>
          </a:bodyPr>
          <a:lstStyle>
            <a:defPPr>
              <a:defRPr lang="en-US"/>
            </a:defPPr>
            <a:lvl1pPr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solidFill>
                  <a:schemeClr val="accent2"/>
                </a:solidFill>
                <a:latin typeface="+mj-lt"/>
                <a:cs typeface="Segoe UI" panose="020B0502040204020203" pitchFamily="34" charset="0"/>
              </a:defRPr>
            </a:lvl1pPr>
            <a:lvl2pPr marL="0" marR="0" indent="0" algn="ctr" defTabSz="932742" fontAlgn="auto">
              <a:lnSpc>
                <a:spcPct val="100000"/>
              </a:lnSpc>
              <a:spcBef>
                <a:spcPct val="20000"/>
              </a:spcBef>
              <a:spcAft>
                <a:spcPts val="0"/>
              </a:spcAft>
              <a:buClrTx/>
              <a:buSzPct val="90000"/>
              <a:buFont typeface="Wingdings" panose="05000000000000000000" pitchFamily="2" charset="2"/>
              <a:buNone/>
              <a:tabLst/>
              <a:defRPr spc="0" baseline="0">
                <a:solidFill>
                  <a:schemeClr val="accent2"/>
                </a:solidFill>
              </a:defRPr>
            </a:lvl2pPr>
            <a:lvl3pPr marL="0" marR="0" indent="0" algn="ctr" defTabSz="932742" fontAlgn="auto">
              <a:lnSpc>
                <a:spcPct val="100000"/>
              </a:lnSpc>
              <a:spcBef>
                <a:spcPct val="20000"/>
              </a:spcBef>
              <a:spcAft>
                <a:spcPts val="0"/>
              </a:spcAft>
              <a:buClrTx/>
              <a:buSzPct val="90000"/>
              <a:buFont typeface="Wingdings" panose="05000000000000000000" pitchFamily="2" charset="2"/>
              <a:buNone/>
              <a:tabLst/>
              <a:defRPr sz="1400" spc="0" baseline="0">
                <a:solidFill>
                  <a:schemeClr val="accent2"/>
                </a:solidFill>
              </a:defRPr>
            </a:lvl3pPr>
            <a:lvl4pPr marL="0" marR="0" indent="0" algn="ctr" defTabSz="932742" fontAlgn="auto">
              <a:lnSpc>
                <a:spcPct val="100000"/>
              </a:lnSpc>
              <a:spcBef>
                <a:spcPct val="20000"/>
              </a:spcBef>
              <a:spcAft>
                <a:spcPts val="0"/>
              </a:spcAft>
              <a:buClrTx/>
              <a:buSzPct val="90000"/>
              <a:buFont typeface="Wingdings" panose="05000000000000000000" pitchFamily="2" charset="2"/>
              <a:buNone/>
              <a:tabLst/>
              <a:defRPr sz="1200" spc="0" baseline="0">
                <a:solidFill>
                  <a:schemeClr val="accent2"/>
                </a:solidFill>
              </a:defRPr>
            </a:lvl4pPr>
            <a:lvl5pPr marL="0" marR="0" indent="0" algn="ctr" defTabSz="932742" fontAlgn="auto">
              <a:lnSpc>
                <a:spcPct val="100000"/>
              </a:lnSpc>
              <a:spcBef>
                <a:spcPct val="20000"/>
              </a:spcBef>
              <a:spcAft>
                <a:spcPts val="0"/>
              </a:spcAft>
              <a:buClrTx/>
              <a:buSzPct val="90000"/>
              <a:buFont typeface="Wingdings" panose="05000000000000000000" pitchFamily="2" charset="2"/>
              <a:buNone/>
              <a:tabLst/>
              <a:defRPr sz="1200" spc="0" baseline="0">
                <a:solidFill>
                  <a:schemeClr val="accent2"/>
                </a:soli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8D4">
                    <a:lumMod val="60000"/>
                    <a:lumOff val="40000"/>
                  </a:srgbClr>
                </a:solidFill>
                <a:effectLst/>
                <a:uLnTx/>
                <a:uFillTx/>
                <a:latin typeface="Segoe UI Semibold"/>
                <a:ea typeface="+mn-ea"/>
                <a:cs typeface="Segoe UI" panose="020B0502040204020203" pitchFamily="34" charset="0"/>
              </a:rPr>
              <a:t>Sentiment analysis</a:t>
            </a:r>
          </a:p>
        </p:txBody>
      </p:sp>
      <p:sp>
        <p:nvSpPr>
          <p:cNvPr id="88" name="Content Placeholder 2">
            <a:extLst>
              <a:ext uri="{FF2B5EF4-FFF2-40B4-BE49-F238E27FC236}">
                <a16:creationId xmlns:a16="http://schemas.microsoft.com/office/drawing/2014/main" id="{E49E800C-9453-4861-A978-FFE15CE49C3B}"/>
              </a:ext>
            </a:extLst>
          </p:cNvPr>
          <p:cNvSpPr txBox="1">
            <a:spLocks/>
          </p:cNvSpPr>
          <p:nvPr/>
        </p:nvSpPr>
        <p:spPr>
          <a:xfrm>
            <a:off x="2324877" y="1801350"/>
            <a:ext cx="3378926" cy="307777"/>
          </a:xfrm>
          <a:prstGeom prst="rect">
            <a:avLst/>
          </a:prstGeom>
        </p:spPr>
        <p:txBody>
          <a:bodyPr vert="horz" wrap="square" lIns="0" tIns="0" rIns="0" bIns="0" rtlCol="0">
            <a:noAutofit/>
          </a:bodyPr>
          <a:lstStyle>
            <a:defPPr>
              <a:defRPr lang="en-US"/>
            </a:defPPr>
            <a:lvl1pPr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solidFill>
                  <a:schemeClr val="accent2"/>
                </a:solidFill>
                <a:latin typeface="+mj-lt"/>
                <a:cs typeface="Segoe UI" panose="020B0502040204020203" pitchFamily="34" charset="0"/>
              </a:defRPr>
            </a:lvl1pPr>
            <a:lvl2pPr marL="0" marR="0" indent="0" algn="ctr" defTabSz="932742" fontAlgn="auto">
              <a:lnSpc>
                <a:spcPct val="100000"/>
              </a:lnSpc>
              <a:spcBef>
                <a:spcPct val="20000"/>
              </a:spcBef>
              <a:spcAft>
                <a:spcPts val="0"/>
              </a:spcAft>
              <a:buClrTx/>
              <a:buSzPct val="90000"/>
              <a:buFont typeface="Wingdings" panose="05000000000000000000" pitchFamily="2" charset="2"/>
              <a:buNone/>
              <a:tabLst/>
              <a:defRPr spc="0" baseline="0">
                <a:solidFill>
                  <a:schemeClr val="accent2"/>
                </a:solidFill>
              </a:defRPr>
            </a:lvl2pPr>
            <a:lvl3pPr marL="0" marR="0" indent="0" algn="ctr" defTabSz="932742" fontAlgn="auto">
              <a:lnSpc>
                <a:spcPct val="100000"/>
              </a:lnSpc>
              <a:spcBef>
                <a:spcPct val="20000"/>
              </a:spcBef>
              <a:spcAft>
                <a:spcPts val="0"/>
              </a:spcAft>
              <a:buClrTx/>
              <a:buSzPct val="90000"/>
              <a:buFont typeface="Wingdings" panose="05000000000000000000" pitchFamily="2" charset="2"/>
              <a:buNone/>
              <a:tabLst/>
              <a:defRPr sz="1400" spc="0" baseline="0">
                <a:solidFill>
                  <a:schemeClr val="accent2"/>
                </a:solidFill>
              </a:defRPr>
            </a:lvl3pPr>
            <a:lvl4pPr marL="0" marR="0" indent="0" algn="ctr" defTabSz="932742" fontAlgn="auto">
              <a:lnSpc>
                <a:spcPct val="100000"/>
              </a:lnSpc>
              <a:spcBef>
                <a:spcPct val="20000"/>
              </a:spcBef>
              <a:spcAft>
                <a:spcPts val="0"/>
              </a:spcAft>
              <a:buClrTx/>
              <a:buSzPct val="90000"/>
              <a:buFont typeface="Wingdings" panose="05000000000000000000" pitchFamily="2" charset="2"/>
              <a:buNone/>
              <a:tabLst/>
              <a:defRPr sz="1200" spc="0" baseline="0">
                <a:solidFill>
                  <a:schemeClr val="accent2"/>
                </a:solidFill>
              </a:defRPr>
            </a:lvl4pPr>
            <a:lvl5pPr marL="0" marR="0" indent="0" algn="ctr" defTabSz="932742" fontAlgn="auto">
              <a:lnSpc>
                <a:spcPct val="100000"/>
              </a:lnSpc>
              <a:spcBef>
                <a:spcPct val="20000"/>
              </a:spcBef>
              <a:spcAft>
                <a:spcPts val="0"/>
              </a:spcAft>
              <a:buClrTx/>
              <a:buSzPct val="90000"/>
              <a:buFont typeface="Wingdings" panose="05000000000000000000" pitchFamily="2" charset="2"/>
              <a:buNone/>
              <a:tabLst/>
              <a:defRPr sz="1200" spc="0" baseline="0">
                <a:solidFill>
                  <a:schemeClr val="accent2"/>
                </a:soli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8D4">
                    <a:lumMod val="60000"/>
                    <a:lumOff val="40000"/>
                  </a:srgbClr>
                </a:solidFill>
                <a:effectLst/>
                <a:uLnTx/>
                <a:uFillTx/>
                <a:latin typeface="Segoe UI Semibold"/>
                <a:ea typeface="+mn-ea"/>
                <a:cs typeface="Segoe UI" panose="020B0502040204020203" pitchFamily="34" charset="0"/>
              </a:rPr>
              <a:t>Robotic process automation</a:t>
            </a:r>
          </a:p>
        </p:txBody>
      </p:sp>
      <p:grpSp>
        <p:nvGrpSpPr>
          <p:cNvPr id="16" name="Group 15">
            <a:extLst>
              <a:ext uri="{FF2B5EF4-FFF2-40B4-BE49-F238E27FC236}">
                <a16:creationId xmlns:a16="http://schemas.microsoft.com/office/drawing/2014/main" id="{894AC528-1F8D-4E22-AEFE-1E52D16EB838}"/>
              </a:ext>
            </a:extLst>
          </p:cNvPr>
          <p:cNvGrpSpPr/>
          <p:nvPr/>
        </p:nvGrpSpPr>
        <p:grpSpPr>
          <a:xfrm>
            <a:off x="1485037" y="4061915"/>
            <a:ext cx="552210" cy="331569"/>
            <a:chOff x="7116271" y="1439015"/>
            <a:chExt cx="552210" cy="331569"/>
          </a:xfrm>
        </p:grpSpPr>
        <p:sp>
          <p:nvSpPr>
            <p:cNvPr id="14" name="Freeform: Shape 13">
              <a:extLst>
                <a:ext uri="{FF2B5EF4-FFF2-40B4-BE49-F238E27FC236}">
                  <a16:creationId xmlns:a16="http://schemas.microsoft.com/office/drawing/2014/main" id="{CF277E3B-0FC0-4401-9F1E-7A415AEC9424}"/>
                </a:ext>
              </a:extLst>
            </p:cNvPr>
            <p:cNvSpPr/>
            <p:nvPr/>
          </p:nvSpPr>
          <p:spPr>
            <a:xfrm>
              <a:off x="7116271" y="1439015"/>
              <a:ext cx="552210" cy="331569"/>
            </a:xfrm>
            <a:custGeom>
              <a:avLst/>
              <a:gdLst>
                <a:gd name="connsiteX0" fmla="*/ 372084 w 552209"/>
                <a:gd name="connsiteY0" fmla="*/ 265255 h 331568"/>
                <a:gd name="connsiteX1" fmla="*/ 377610 w 552209"/>
                <a:gd name="connsiteY1" fmla="*/ 72531 h 331568"/>
                <a:gd name="connsiteX2" fmla="*/ 503329 w 552209"/>
                <a:gd name="connsiteY2" fmla="*/ 173383 h 331568"/>
                <a:gd name="connsiteX3" fmla="*/ 372084 w 552209"/>
                <a:gd name="connsiteY3" fmla="*/ 265255 h 331568"/>
                <a:gd name="connsiteX4" fmla="*/ 100612 w 552209"/>
                <a:gd name="connsiteY4" fmla="*/ 122957 h 331568"/>
                <a:gd name="connsiteX5" fmla="*/ 173833 w 552209"/>
                <a:gd name="connsiteY5" fmla="*/ 73221 h 331568"/>
                <a:gd name="connsiteX6" fmla="*/ 180050 w 552209"/>
                <a:gd name="connsiteY6" fmla="*/ 265255 h 331568"/>
                <a:gd name="connsiteX7" fmla="*/ 48804 w 552209"/>
                <a:gd name="connsiteY7" fmla="*/ 173383 h 331568"/>
                <a:gd name="connsiteX8" fmla="*/ 100612 w 552209"/>
                <a:gd name="connsiteY8" fmla="*/ 122957 h 331568"/>
                <a:gd name="connsiteX9" fmla="*/ 100612 w 552209"/>
                <a:gd name="connsiteY9" fmla="*/ 122957 h 331568"/>
                <a:gd name="connsiteX10" fmla="*/ 276067 w 552209"/>
                <a:gd name="connsiteY10" fmla="*/ 276307 h 331568"/>
                <a:gd name="connsiteX11" fmla="*/ 165544 w 552209"/>
                <a:gd name="connsiteY11" fmla="*/ 165784 h 331568"/>
                <a:gd name="connsiteX12" fmla="*/ 276067 w 552209"/>
                <a:gd name="connsiteY12" fmla="*/ 55261 h 331568"/>
                <a:gd name="connsiteX13" fmla="*/ 386590 w 552209"/>
                <a:gd name="connsiteY13" fmla="*/ 165784 h 331568"/>
                <a:gd name="connsiteX14" fmla="*/ 276067 w 552209"/>
                <a:gd name="connsiteY14" fmla="*/ 276307 h 331568"/>
                <a:gd name="connsiteX15" fmla="*/ 544776 w 552209"/>
                <a:gd name="connsiteY15" fmla="*/ 154041 h 331568"/>
                <a:gd name="connsiteX16" fmla="*/ 276067 w 552209"/>
                <a:gd name="connsiteY16" fmla="*/ 0 h 331568"/>
                <a:gd name="connsiteX17" fmla="*/ 7358 w 552209"/>
                <a:gd name="connsiteY17" fmla="*/ 154041 h 331568"/>
                <a:gd name="connsiteX18" fmla="*/ 8740 w 552209"/>
                <a:gd name="connsiteY18" fmla="*/ 195487 h 331568"/>
                <a:gd name="connsiteX19" fmla="*/ 276067 w 552209"/>
                <a:gd name="connsiteY19" fmla="*/ 331569 h 331568"/>
                <a:gd name="connsiteX20" fmla="*/ 544085 w 552209"/>
                <a:gd name="connsiteY20" fmla="*/ 195487 h 331568"/>
                <a:gd name="connsiteX21" fmla="*/ 544776 w 552209"/>
                <a:gd name="connsiteY21" fmla="*/ 154041 h 331568"/>
                <a:gd name="connsiteX0" fmla="*/ 372084 w 552209"/>
                <a:gd name="connsiteY0" fmla="*/ 265255 h 331569"/>
                <a:gd name="connsiteX1" fmla="*/ 377610 w 552209"/>
                <a:gd name="connsiteY1" fmla="*/ 72531 h 331569"/>
                <a:gd name="connsiteX2" fmla="*/ 503329 w 552209"/>
                <a:gd name="connsiteY2" fmla="*/ 173383 h 331569"/>
                <a:gd name="connsiteX3" fmla="*/ 372084 w 552209"/>
                <a:gd name="connsiteY3" fmla="*/ 265255 h 331569"/>
                <a:gd name="connsiteX4" fmla="*/ 100612 w 552209"/>
                <a:gd name="connsiteY4" fmla="*/ 122957 h 331569"/>
                <a:gd name="connsiteX5" fmla="*/ 180050 w 552209"/>
                <a:gd name="connsiteY5" fmla="*/ 265255 h 331569"/>
                <a:gd name="connsiteX6" fmla="*/ 48804 w 552209"/>
                <a:gd name="connsiteY6" fmla="*/ 173383 h 331569"/>
                <a:gd name="connsiteX7" fmla="*/ 100612 w 552209"/>
                <a:gd name="connsiteY7" fmla="*/ 122957 h 331569"/>
                <a:gd name="connsiteX8" fmla="*/ 100612 w 552209"/>
                <a:gd name="connsiteY8" fmla="*/ 122957 h 331569"/>
                <a:gd name="connsiteX9" fmla="*/ 276067 w 552209"/>
                <a:gd name="connsiteY9" fmla="*/ 276307 h 331569"/>
                <a:gd name="connsiteX10" fmla="*/ 165544 w 552209"/>
                <a:gd name="connsiteY10" fmla="*/ 165784 h 331569"/>
                <a:gd name="connsiteX11" fmla="*/ 276067 w 552209"/>
                <a:gd name="connsiteY11" fmla="*/ 55261 h 331569"/>
                <a:gd name="connsiteX12" fmla="*/ 386590 w 552209"/>
                <a:gd name="connsiteY12" fmla="*/ 165784 h 331569"/>
                <a:gd name="connsiteX13" fmla="*/ 276067 w 552209"/>
                <a:gd name="connsiteY13" fmla="*/ 276307 h 331569"/>
                <a:gd name="connsiteX14" fmla="*/ 544776 w 552209"/>
                <a:gd name="connsiteY14" fmla="*/ 154041 h 331569"/>
                <a:gd name="connsiteX15" fmla="*/ 276067 w 552209"/>
                <a:gd name="connsiteY15" fmla="*/ 0 h 331569"/>
                <a:gd name="connsiteX16" fmla="*/ 7358 w 552209"/>
                <a:gd name="connsiteY16" fmla="*/ 154041 h 331569"/>
                <a:gd name="connsiteX17" fmla="*/ 8740 w 552209"/>
                <a:gd name="connsiteY17" fmla="*/ 195487 h 331569"/>
                <a:gd name="connsiteX18" fmla="*/ 276067 w 552209"/>
                <a:gd name="connsiteY18" fmla="*/ 331569 h 331569"/>
                <a:gd name="connsiteX19" fmla="*/ 544085 w 552209"/>
                <a:gd name="connsiteY19" fmla="*/ 195487 h 331569"/>
                <a:gd name="connsiteX20" fmla="*/ 544776 w 552209"/>
                <a:gd name="connsiteY20" fmla="*/ 154041 h 331569"/>
                <a:gd name="connsiteX0" fmla="*/ 372084 w 552209"/>
                <a:gd name="connsiteY0" fmla="*/ 265255 h 331569"/>
                <a:gd name="connsiteX1" fmla="*/ 377610 w 552209"/>
                <a:gd name="connsiteY1" fmla="*/ 72531 h 331569"/>
                <a:gd name="connsiteX2" fmla="*/ 503329 w 552209"/>
                <a:gd name="connsiteY2" fmla="*/ 173383 h 331569"/>
                <a:gd name="connsiteX3" fmla="*/ 372084 w 552209"/>
                <a:gd name="connsiteY3" fmla="*/ 265255 h 331569"/>
                <a:gd name="connsiteX4" fmla="*/ 100612 w 552209"/>
                <a:gd name="connsiteY4" fmla="*/ 122957 h 331569"/>
                <a:gd name="connsiteX5" fmla="*/ 180050 w 552209"/>
                <a:gd name="connsiteY5" fmla="*/ 265255 h 331569"/>
                <a:gd name="connsiteX6" fmla="*/ 48804 w 552209"/>
                <a:gd name="connsiteY6" fmla="*/ 173383 h 331569"/>
                <a:gd name="connsiteX7" fmla="*/ 100612 w 552209"/>
                <a:gd name="connsiteY7" fmla="*/ 122957 h 331569"/>
                <a:gd name="connsiteX8" fmla="*/ 276067 w 552209"/>
                <a:gd name="connsiteY8" fmla="*/ 276307 h 331569"/>
                <a:gd name="connsiteX9" fmla="*/ 165544 w 552209"/>
                <a:gd name="connsiteY9" fmla="*/ 165784 h 331569"/>
                <a:gd name="connsiteX10" fmla="*/ 276067 w 552209"/>
                <a:gd name="connsiteY10" fmla="*/ 55261 h 331569"/>
                <a:gd name="connsiteX11" fmla="*/ 386590 w 552209"/>
                <a:gd name="connsiteY11" fmla="*/ 165784 h 331569"/>
                <a:gd name="connsiteX12" fmla="*/ 276067 w 552209"/>
                <a:gd name="connsiteY12" fmla="*/ 276307 h 331569"/>
                <a:gd name="connsiteX13" fmla="*/ 544776 w 552209"/>
                <a:gd name="connsiteY13" fmla="*/ 154041 h 331569"/>
                <a:gd name="connsiteX14" fmla="*/ 276067 w 552209"/>
                <a:gd name="connsiteY14" fmla="*/ 0 h 331569"/>
                <a:gd name="connsiteX15" fmla="*/ 7358 w 552209"/>
                <a:gd name="connsiteY15" fmla="*/ 154041 h 331569"/>
                <a:gd name="connsiteX16" fmla="*/ 8740 w 552209"/>
                <a:gd name="connsiteY16" fmla="*/ 195487 h 331569"/>
                <a:gd name="connsiteX17" fmla="*/ 276067 w 552209"/>
                <a:gd name="connsiteY17" fmla="*/ 331569 h 331569"/>
                <a:gd name="connsiteX18" fmla="*/ 544085 w 552209"/>
                <a:gd name="connsiteY18" fmla="*/ 195487 h 331569"/>
                <a:gd name="connsiteX19" fmla="*/ 544776 w 552209"/>
                <a:gd name="connsiteY19" fmla="*/ 154041 h 331569"/>
                <a:gd name="connsiteX0" fmla="*/ 372084 w 552209"/>
                <a:gd name="connsiteY0" fmla="*/ 265255 h 331569"/>
                <a:gd name="connsiteX1" fmla="*/ 377610 w 552209"/>
                <a:gd name="connsiteY1" fmla="*/ 72531 h 331569"/>
                <a:gd name="connsiteX2" fmla="*/ 503329 w 552209"/>
                <a:gd name="connsiteY2" fmla="*/ 173383 h 331569"/>
                <a:gd name="connsiteX3" fmla="*/ 372084 w 552209"/>
                <a:gd name="connsiteY3" fmla="*/ 265255 h 331569"/>
                <a:gd name="connsiteX4" fmla="*/ 100612 w 552209"/>
                <a:gd name="connsiteY4" fmla="*/ 122957 h 331569"/>
                <a:gd name="connsiteX5" fmla="*/ 48804 w 552209"/>
                <a:gd name="connsiteY5" fmla="*/ 173383 h 331569"/>
                <a:gd name="connsiteX6" fmla="*/ 100612 w 552209"/>
                <a:gd name="connsiteY6" fmla="*/ 122957 h 331569"/>
                <a:gd name="connsiteX7" fmla="*/ 276067 w 552209"/>
                <a:gd name="connsiteY7" fmla="*/ 276307 h 331569"/>
                <a:gd name="connsiteX8" fmla="*/ 165544 w 552209"/>
                <a:gd name="connsiteY8" fmla="*/ 165784 h 331569"/>
                <a:gd name="connsiteX9" fmla="*/ 276067 w 552209"/>
                <a:gd name="connsiteY9" fmla="*/ 55261 h 331569"/>
                <a:gd name="connsiteX10" fmla="*/ 386590 w 552209"/>
                <a:gd name="connsiteY10" fmla="*/ 165784 h 331569"/>
                <a:gd name="connsiteX11" fmla="*/ 276067 w 552209"/>
                <a:gd name="connsiteY11" fmla="*/ 276307 h 331569"/>
                <a:gd name="connsiteX12" fmla="*/ 544776 w 552209"/>
                <a:gd name="connsiteY12" fmla="*/ 154041 h 331569"/>
                <a:gd name="connsiteX13" fmla="*/ 276067 w 552209"/>
                <a:gd name="connsiteY13" fmla="*/ 0 h 331569"/>
                <a:gd name="connsiteX14" fmla="*/ 7358 w 552209"/>
                <a:gd name="connsiteY14" fmla="*/ 154041 h 331569"/>
                <a:gd name="connsiteX15" fmla="*/ 8740 w 552209"/>
                <a:gd name="connsiteY15" fmla="*/ 195487 h 331569"/>
                <a:gd name="connsiteX16" fmla="*/ 276067 w 552209"/>
                <a:gd name="connsiteY16" fmla="*/ 331569 h 331569"/>
                <a:gd name="connsiteX17" fmla="*/ 544085 w 552209"/>
                <a:gd name="connsiteY17" fmla="*/ 195487 h 331569"/>
                <a:gd name="connsiteX18" fmla="*/ 544776 w 552209"/>
                <a:gd name="connsiteY18" fmla="*/ 154041 h 331569"/>
                <a:gd name="connsiteX0" fmla="*/ 372084 w 552209"/>
                <a:gd name="connsiteY0" fmla="*/ 265255 h 331569"/>
                <a:gd name="connsiteX1" fmla="*/ 377610 w 552209"/>
                <a:gd name="connsiteY1" fmla="*/ 72531 h 331569"/>
                <a:gd name="connsiteX2" fmla="*/ 503329 w 552209"/>
                <a:gd name="connsiteY2" fmla="*/ 173383 h 331569"/>
                <a:gd name="connsiteX3" fmla="*/ 372084 w 552209"/>
                <a:gd name="connsiteY3" fmla="*/ 265255 h 331569"/>
                <a:gd name="connsiteX4" fmla="*/ 276067 w 552209"/>
                <a:gd name="connsiteY4" fmla="*/ 276307 h 331569"/>
                <a:gd name="connsiteX5" fmla="*/ 165544 w 552209"/>
                <a:gd name="connsiteY5" fmla="*/ 165784 h 331569"/>
                <a:gd name="connsiteX6" fmla="*/ 276067 w 552209"/>
                <a:gd name="connsiteY6" fmla="*/ 55261 h 331569"/>
                <a:gd name="connsiteX7" fmla="*/ 386590 w 552209"/>
                <a:gd name="connsiteY7" fmla="*/ 165784 h 331569"/>
                <a:gd name="connsiteX8" fmla="*/ 276067 w 552209"/>
                <a:gd name="connsiteY8" fmla="*/ 276307 h 331569"/>
                <a:gd name="connsiteX9" fmla="*/ 544776 w 552209"/>
                <a:gd name="connsiteY9" fmla="*/ 154041 h 331569"/>
                <a:gd name="connsiteX10" fmla="*/ 276067 w 552209"/>
                <a:gd name="connsiteY10" fmla="*/ 0 h 331569"/>
                <a:gd name="connsiteX11" fmla="*/ 7358 w 552209"/>
                <a:gd name="connsiteY11" fmla="*/ 154041 h 331569"/>
                <a:gd name="connsiteX12" fmla="*/ 8740 w 552209"/>
                <a:gd name="connsiteY12" fmla="*/ 195487 h 331569"/>
                <a:gd name="connsiteX13" fmla="*/ 276067 w 552209"/>
                <a:gd name="connsiteY13" fmla="*/ 331569 h 331569"/>
                <a:gd name="connsiteX14" fmla="*/ 544085 w 552209"/>
                <a:gd name="connsiteY14" fmla="*/ 195487 h 331569"/>
                <a:gd name="connsiteX15" fmla="*/ 544776 w 552209"/>
                <a:gd name="connsiteY15" fmla="*/ 154041 h 331569"/>
                <a:gd name="connsiteX0" fmla="*/ 372084 w 552209"/>
                <a:gd name="connsiteY0" fmla="*/ 265255 h 331569"/>
                <a:gd name="connsiteX1" fmla="*/ 377610 w 552209"/>
                <a:gd name="connsiteY1" fmla="*/ 72531 h 331569"/>
                <a:gd name="connsiteX2" fmla="*/ 503329 w 552209"/>
                <a:gd name="connsiteY2" fmla="*/ 173383 h 331569"/>
                <a:gd name="connsiteX3" fmla="*/ 372084 w 552209"/>
                <a:gd name="connsiteY3" fmla="*/ 265255 h 331569"/>
                <a:gd name="connsiteX4" fmla="*/ 386590 w 552209"/>
                <a:gd name="connsiteY4" fmla="*/ 165784 h 331569"/>
                <a:gd name="connsiteX5" fmla="*/ 165544 w 552209"/>
                <a:gd name="connsiteY5" fmla="*/ 165784 h 331569"/>
                <a:gd name="connsiteX6" fmla="*/ 276067 w 552209"/>
                <a:gd name="connsiteY6" fmla="*/ 55261 h 331569"/>
                <a:gd name="connsiteX7" fmla="*/ 386590 w 552209"/>
                <a:gd name="connsiteY7" fmla="*/ 165784 h 331569"/>
                <a:gd name="connsiteX8" fmla="*/ 544776 w 552209"/>
                <a:gd name="connsiteY8" fmla="*/ 154041 h 331569"/>
                <a:gd name="connsiteX9" fmla="*/ 276067 w 552209"/>
                <a:gd name="connsiteY9" fmla="*/ 0 h 331569"/>
                <a:gd name="connsiteX10" fmla="*/ 7358 w 552209"/>
                <a:gd name="connsiteY10" fmla="*/ 154041 h 331569"/>
                <a:gd name="connsiteX11" fmla="*/ 8740 w 552209"/>
                <a:gd name="connsiteY11" fmla="*/ 195487 h 331569"/>
                <a:gd name="connsiteX12" fmla="*/ 276067 w 552209"/>
                <a:gd name="connsiteY12" fmla="*/ 331569 h 331569"/>
                <a:gd name="connsiteX13" fmla="*/ 544085 w 552209"/>
                <a:gd name="connsiteY13" fmla="*/ 195487 h 331569"/>
                <a:gd name="connsiteX14" fmla="*/ 544776 w 552209"/>
                <a:gd name="connsiteY14" fmla="*/ 154041 h 331569"/>
                <a:gd name="connsiteX0" fmla="*/ 372084 w 552209"/>
                <a:gd name="connsiteY0" fmla="*/ 265255 h 331569"/>
                <a:gd name="connsiteX1" fmla="*/ 377610 w 552209"/>
                <a:gd name="connsiteY1" fmla="*/ 72531 h 331569"/>
                <a:gd name="connsiteX2" fmla="*/ 503329 w 552209"/>
                <a:gd name="connsiteY2" fmla="*/ 173383 h 331569"/>
                <a:gd name="connsiteX3" fmla="*/ 372084 w 552209"/>
                <a:gd name="connsiteY3" fmla="*/ 265255 h 331569"/>
                <a:gd name="connsiteX4" fmla="*/ 276067 w 552209"/>
                <a:gd name="connsiteY4" fmla="*/ 55261 h 331569"/>
                <a:gd name="connsiteX5" fmla="*/ 165544 w 552209"/>
                <a:gd name="connsiteY5" fmla="*/ 165784 h 331569"/>
                <a:gd name="connsiteX6" fmla="*/ 276067 w 552209"/>
                <a:gd name="connsiteY6" fmla="*/ 55261 h 331569"/>
                <a:gd name="connsiteX7" fmla="*/ 544776 w 552209"/>
                <a:gd name="connsiteY7" fmla="*/ 154041 h 331569"/>
                <a:gd name="connsiteX8" fmla="*/ 276067 w 552209"/>
                <a:gd name="connsiteY8" fmla="*/ 0 h 331569"/>
                <a:gd name="connsiteX9" fmla="*/ 7358 w 552209"/>
                <a:gd name="connsiteY9" fmla="*/ 154041 h 331569"/>
                <a:gd name="connsiteX10" fmla="*/ 8740 w 552209"/>
                <a:gd name="connsiteY10" fmla="*/ 195487 h 331569"/>
                <a:gd name="connsiteX11" fmla="*/ 276067 w 552209"/>
                <a:gd name="connsiteY11" fmla="*/ 331569 h 331569"/>
                <a:gd name="connsiteX12" fmla="*/ 544085 w 552209"/>
                <a:gd name="connsiteY12" fmla="*/ 195487 h 331569"/>
                <a:gd name="connsiteX13" fmla="*/ 544776 w 552209"/>
                <a:gd name="connsiteY13" fmla="*/ 154041 h 331569"/>
                <a:gd name="connsiteX0" fmla="*/ 503329 w 552209"/>
                <a:gd name="connsiteY0" fmla="*/ 173383 h 331569"/>
                <a:gd name="connsiteX1" fmla="*/ 377610 w 552209"/>
                <a:gd name="connsiteY1" fmla="*/ 72531 h 331569"/>
                <a:gd name="connsiteX2" fmla="*/ 503329 w 552209"/>
                <a:gd name="connsiteY2" fmla="*/ 173383 h 331569"/>
                <a:gd name="connsiteX3" fmla="*/ 276067 w 552209"/>
                <a:gd name="connsiteY3" fmla="*/ 55261 h 331569"/>
                <a:gd name="connsiteX4" fmla="*/ 165544 w 552209"/>
                <a:gd name="connsiteY4" fmla="*/ 165784 h 331569"/>
                <a:gd name="connsiteX5" fmla="*/ 276067 w 552209"/>
                <a:gd name="connsiteY5" fmla="*/ 55261 h 331569"/>
                <a:gd name="connsiteX6" fmla="*/ 544776 w 552209"/>
                <a:gd name="connsiteY6" fmla="*/ 154041 h 331569"/>
                <a:gd name="connsiteX7" fmla="*/ 276067 w 552209"/>
                <a:gd name="connsiteY7" fmla="*/ 0 h 331569"/>
                <a:gd name="connsiteX8" fmla="*/ 7358 w 552209"/>
                <a:gd name="connsiteY8" fmla="*/ 154041 h 331569"/>
                <a:gd name="connsiteX9" fmla="*/ 8740 w 552209"/>
                <a:gd name="connsiteY9" fmla="*/ 195487 h 331569"/>
                <a:gd name="connsiteX10" fmla="*/ 276067 w 552209"/>
                <a:gd name="connsiteY10" fmla="*/ 331569 h 331569"/>
                <a:gd name="connsiteX11" fmla="*/ 544085 w 552209"/>
                <a:gd name="connsiteY11" fmla="*/ 195487 h 331569"/>
                <a:gd name="connsiteX12" fmla="*/ 544776 w 552209"/>
                <a:gd name="connsiteY12" fmla="*/ 154041 h 331569"/>
                <a:gd name="connsiteX0" fmla="*/ 276067 w 552209"/>
                <a:gd name="connsiteY0" fmla="*/ 55261 h 331569"/>
                <a:gd name="connsiteX1" fmla="*/ 165544 w 552209"/>
                <a:gd name="connsiteY1" fmla="*/ 165784 h 331569"/>
                <a:gd name="connsiteX2" fmla="*/ 276067 w 552209"/>
                <a:gd name="connsiteY2" fmla="*/ 55261 h 331569"/>
                <a:gd name="connsiteX3" fmla="*/ 544776 w 552209"/>
                <a:gd name="connsiteY3" fmla="*/ 154041 h 331569"/>
                <a:gd name="connsiteX4" fmla="*/ 276067 w 552209"/>
                <a:gd name="connsiteY4" fmla="*/ 0 h 331569"/>
                <a:gd name="connsiteX5" fmla="*/ 7358 w 552209"/>
                <a:gd name="connsiteY5" fmla="*/ 154041 h 331569"/>
                <a:gd name="connsiteX6" fmla="*/ 8740 w 552209"/>
                <a:gd name="connsiteY6" fmla="*/ 195487 h 331569"/>
                <a:gd name="connsiteX7" fmla="*/ 276067 w 552209"/>
                <a:gd name="connsiteY7" fmla="*/ 331569 h 331569"/>
                <a:gd name="connsiteX8" fmla="*/ 544085 w 552209"/>
                <a:gd name="connsiteY8" fmla="*/ 195487 h 331569"/>
                <a:gd name="connsiteX9" fmla="*/ 544776 w 552209"/>
                <a:gd name="connsiteY9" fmla="*/ 154041 h 331569"/>
                <a:gd name="connsiteX0" fmla="*/ 544776 w 552209"/>
                <a:gd name="connsiteY0" fmla="*/ 154041 h 331569"/>
                <a:gd name="connsiteX1" fmla="*/ 276067 w 552209"/>
                <a:gd name="connsiteY1" fmla="*/ 0 h 331569"/>
                <a:gd name="connsiteX2" fmla="*/ 7358 w 552209"/>
                <a:gd name="connsiteY2" fmla="*/ 154041 h 331569"/>
                <a:gd name="connsiteX3" fmla="*/ 8740 w 552209"/>
                <a:gd name="connsiteY3" fmla="*/ 195487 h 331569"/>
                <a:gd name="connsiteX4" fmla="*/ 276067 w 552209"/>
                <a:gd name="connsiteY4" fmla="*/ 331569 h 331569"/>
                <a:gd name="connsiteX5" fmla="*/ 544085 w 552209"/>
                <a:gd name="connsiteY5" fmla="*/ 195487 h 331569"/>
                <a:gd name="connsiteX6" fmla="*/ 544776 w 552209"/>
                <a:gd name="connsiteY6" fmla="*/ 154041 h 331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2209" h="331569">
                  <a:moveTo>
                    <a:pt x="544776" y="154041"/>
                  </a:moveTo>
                  <a:cubicBezTo>
                    <a:pt x="504711" y="107069"/>
                    <a:pt x="399714" y="0"/>
                    <a:pt x="276067" y="0"/>
                  </a:cubicBezTo>
                  <a:cubicBezTo>
                    <a:pt x="152419" y="0"/>
                    <a:pt x="47423" y="107069"/>
                    <a:pt x="7358" y="154041"/>
                  </a:cubicBezTo>
                  <a:cubicBezTo>
                    <a:pt x="-3003" y="166475"/>
                    <a:pt x="-2313" y="183744"/>
                    <a:pt x="8740" y="195487"/>
                  </a:cubicBezTo>
                  <a:cubicBezTo>
                    <a:pt x="49495" y="238315"/>
                    <a:pt x="153801" y="331569"/>
                    <a:pt x="276067" y="331569"/>
                  </a:cubicBezTo>
                  <a:cubicBezTo>
                    <a:pt x="398333" y="331569"/>
                    <a:pt x="502639" y="238315"/>
                    <a:pt x="544085" y="195487"/>
                  </a:cubicBezTo>
                  <a:cubicBezTo>
                    <a:pt x="554446" y="184435"/>
                    <a:pt x="555137" y="166475"/>
                    <a:pt x="544776" y="154041"/>
                  </a:cubicBezTo>
                  <a:close/>
                </a:path>
              </a:pathLst>
            </a:custGeom>
            <a:solidFill>
              <a:schemeClr val="accent2"/>
            </a:solidFill>
            <a:ln w="68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8" name="Freeform: Shape 157">
              <a:extLst>
                <a:ext uri="{FF2B5EF4-FFF2-40B4-BE49-F238E27FC236}">
                  <a16:creationId xmlns:a16="http://schemas.microsoft.com/office/drawing/2014/main" id="{1339FD98-6870-4371-8682-4A7943599BB9}"/>
                </a:ext>
              </a:extLst>
            </p:cNvPr>
            <p:cNvSpPr/>
            <p:nvPr/>
          </p:nvSpPr>
          <p:spPr>
            <a:xfrm>
              <a:off x="7246596" y="1456158"/>
              <a:ext cx="291484" cy="291484"/>
            </a:xfrm>
            <a:custGeom>
              <a:avLst/>
              <a:gdLst>
                <a:gd name="connsiteX0" fmla="*/ 138154 w 138153"/>
                <a:gd name="connsiteY0" fmla="*/ 69077 h 138153"/>
                <a:gd name="connsiteX1" fmla="*/ 69077 w 138153"/>
                <a:gd name="connsiteY1" fmla="*/ 138154 h 138153"/>
                <a:gd name="connsiteX2" fmla="*/ 0 w 138153"/>
                <a:gd name="connsiteY2" fmla="*/ 69077 h 138153"/>
                <a:gd name="connsiteX3" fmla="*/ 69077 w 138153"/>
                <a:gd name="connsiteY3" fmla="*/ 0 h 138153"/>
                <a:gd name="connsiteX4" fmla="*/ 138154 w 138153"/>
                <a:gd name="connsiteY4" fmla="*/ 69077 h 138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153" h="138153">
                  <a:moveTo>
                    <a:pt x="138154" y="69077"/>
                  </a:moveTo>
                  <a:cubicBezTo>
                    <a:pt x="138154" y="107227"/>
                    <a:pt x="107227" y="138154"/>
                    <a:pt x="69077" y="138154"/>
                  </a:cubicBezTo>
                  <a:cubicBezTo>
                    <a:pt x="30927" y="138154"/>
                    <a:pt x="0" y="107227"/>
                    <a:pt x="0" y="69077"/>
                  </a:cubicBezTo>
                  <a:cubicBezTo>
                    <a:pt x="0" y="30927"/>
                    <a:pt x="30927" y="0"/>
                    <a:pt x="69077" y="0"/>
                  </a:cubicBezTo>
                  <a:cubicBezTo>
                    <a:pt x="107227" y="0"/>
                    <a:pt x="138154" y="30927"/>
                    <a:pt x="138154" y="69077"/>
                  </a:cubicBezTo>
                  <a:close/>
                </a:path>
              </a:pathLst>
            </a:custGeom>
            <a:solidFill>
              <a:schemeClr val="accent1"/>
            </a:solidFill>
            <a:ln w="68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5AADE8DB-4668-4DCF-87C1-ACC9883C9304}"/>
                </a:ext>
              </a:extLst>
            </p:cNvPr>
            <p:cNvSpPr/>
            <p:nvPr/>
          </p:nvSpPr>
          <p:spPr>
            <a:xfrm>
              <a:off x="7323261" y="1535722"/>
              <a:ext cx="138153" cy="138153"/>
            </a:xfrm>
            <a:custGeom>
              <a:avLst/>
              <a:gdLst>
                <a:gd name="connsiteX0" fmla="*/ 138154 w 138153"/>
                <a:gd name="connsiteY0" fmla="*/ 69077 h 138153"/>
                <a:gd name="connsiteX1" fmla="*/ 69077 w 138153"/>
                <a:gd name="connsiteY1" fmla="*/ 138154 h 138153"/>
                <a:gd name="connsiteX2" fmla="*/ 0 w 138153"/>
                <a:gd name="connsiteY2" fmla="*/ 69077 h 138153"/>
                <a:gd name="connsiteX3" fmla="*/ 69077 w 138153"/>
                <a:gd name="connsiteY3" fmla="*/ 0 h 138153"/>
                <a:gd name="connsiteX4" fmla="*/ 138154 w 138153"/>
                <a:gd name="connsiteY4" fmla="*/ 69077 h 138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153" h="138153">
                  <a:moveTo>
                    <a:pt x="138154" y="69077"/>
                  </a:moveTo>
                  <a:cubicBezTo>
                    <a:pt x="138154" y="107227"/>
                    <a:pt x="107227" y="138154"/>
                    <a:pt x="69077" y="138154"/>
                  </a:cubicBezTo>
                  <a:cubicBezTo>
                    <a:pt x="30927" y="138154"/>
                    <a:pt x="0" y="107227"/>
                    <a:pt x="0" y="69077"/>
                  </a:cubicBezTo>
                  <a:cubicBezTo>
                    <a:pt x="0" y="30927"/>
                    <a:pt x="30927" y="0"/>
                    <a:pt x="69077" y="0"/>
                  </a:cubicBezTo>
                  <a:cubicBezTo>
                    <a:pt x="107227" y="0"/>
                    <a:pt x="138154" y="30927"/>
                    <a:pt x="138154" y="69077"/>
                  </a:cubicBezTo>
                  <a:close/>
                </a:path>
              </a:pathLst>
            </a:custGeom>
            <a:solidFill>
              <a:schemeClr val="bg1"/>
            </a:solidFill>
            <a:ln w="68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59" name="Group 90">
            <a:extLst>
              <a:ext uri="{FF2B5EF4-FFF2-40B4-BE49-F238E27FC236}">
                <a16:creationId xmlns:a16="http://schemas.microsoft.com/office/drawing/2014/main" id="{4E7733C9-6049-4BC6-85DD-EA92703688BB}"/>
              </a:ext>
            </a:extLst>
          </p:cNvPr>
          <p:cNvGrpSpPr>
            <a:grpSpLocks noChangeAspect="1"/>
          </p:cNvGrpSpPr>
          <p:nvPr/>
        </p:nvGrpSpPr>
        <p:grpSpPr bwMode="auto">
          <a:xfrm>
            <a:off x="1517616" y="1707588"/>
            <a:ext cx="501650" cy="495300"/>
            <a:chOff x="410" y="2783"/>
            <a:chExt cx="316" cy="312"/>
          </a:xfrm>
        </p:grpSpPr>
        <p:sp>
          <p:nvSpPr>
            <p:cNvPr id="160" name="Freeform 91">
              <a:extLst>
                <a:ext uri="{FF2B5EF4-FFF2-40B4-BE49-F238E27FC236}">
                  <a16:creationId xmlns:a16="http://schemas.microsoft.com/office/drawing/2014/main" id="{45F71E60-C05C-4824-8C5B-2BA25C1C31B0}"/>
                </a:ext>
              </a:extLst>
            </p:cNvPr>
            <p:cNvSpPr>
              <a:spLocks noEditPoints="1"/>
            </p:cNvSpPr>
            <p:nvPr/>
          </p:nvSpPr>
          <p:spPr bwMode="auto">
            <a:xfrm>
              <a:off x="494" y="2793"/>
              <a:ext cx="232" cy="204"/>
            </a:xfrm>
            <a:custGeom>
              <a:avLst/>
              <a:gdLst>
                <a:gd name="T0" fmla="*/ 507 w 1015"/>
                <a:gd name="T1" fmla="*/ 128 h 896"/>
                <a:gd name="T2" fmla="*/ 626 w 1015"/>
                <a:gd name="T3" fmla="*/ 151 h 896"/>
                <a:gd name="T4" fmla="*/ 801 w 1015"/>
                <a:gd name="T5" fmla="*/ 322 h 896"/>
                <a:gd name="T6" fmla="*/ 804 w 1015"/>
                <a:gd name="T7" fmla="*/ 567 h 896"/>
                <a:gd name="T8" fmla="*/ 685 w 1015"/>
                <a:gd name="T9" fmla="*/ 714 h 896"/>
                <a:gd name="T10" fmla="*/ 600 w 1015"/>
                <a:gd name="T11" fmla="*/ 754 h 896"/>
                <a:gd name="T12" fmla="*/ 507 w 1015"/>
                <a:gd name="T13" fmla="*/ 768 h 896"/>
                <a:gd name="T14" fmla="*/ 389 w 1015"/>
                <a:gd name="T15" fmla="*/ 745 h 896"/>
                <a:gd name="T16" fmla="*/ 213 w 1015"/>
                <a:gd name="T17" fmla="*/ 575 h 896"/>
                <a:gd name="T18" fmla="*/ 210 w 1015"/>
                <a:gd name="T19" fmla="*/ 330 h 896"/>
                <a:gd name="T20" fmla="*/ 330 w 1015"/>
                <a:gd name="T21" fmla="*/ 182 h 896"/>
                <a:gd name="T22" fmla="*/ 414 w 1015"/>
                <a:gd name="T23" fmla="*/ 142 h 896"/>
                <a:gd name="T24" fmla="*/ 507 w 1015"/>
                <a:gd name="T25" fmla="*/ 128 h 896"/>
                <a:gd name="T26" fmla="*/ 507 w 1015"/>
                <a:gd name="T27" fmla="*/ 128 h 896"/>
                <a:gd name="T28" fmla="*/ 507 w 1015"/>
                <a:gd name="T29" fmla="*/ 128 h 896"/>
                <a:gd name="T30" fmla="*/ 507 w 1015"/>
                <a:gd name="T31" fmla="*/ 0 h 896"/>
                <a:gd name="T32" fmla="*/ 91 w 1015"/>
                <a:gd name="T33" fmla="*/ 282 h 896"/>
                <a:gd name="T34" fmla="*/ 341 w 1015"/>
                <a:gd name="T35" fmla="*/ 864 h 896"/>
                <a:gd name="T36" fmla="*/ 507 w 1015"/>
                <a:gd name="T37" fmla="*/ 896 h 896"/>
                <a:gd name="T38" fmla="*/ 923 w 1015"/>
                <a:gd name="T39" fmla="*/ 614 h 896"/>
                <a:gd name="T40" fmla="*/ 673 w 1015"/>
                <a:gd name="T41" fmla="*/ 32 h 896"/>
                <a:gd name="T42" fmla="*/ 507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7" y="128"/>
                  </a:moveTo>
                  <a:cubicBezTo>
                    <a:pt x="548" y="128"/>
                    <a:pt x="588" y="136"/>
                    <a:pt x="626" y="151"/>
                  </a:cubicBezTo>
                  <a:cubicBezTo>
                    <a:pt x="705" y="183"/>
                    <a:pt x="767" y="244"/>
                    <a:pt x="801" y="322"/>
                  </a:cubicBezTo>
                  <a:cubicBezTo>
                    <a:pt x="835" y="401"/>
                    <a:pt x="836" y="487"/>
                    <a:pt x="804" y="567"/>
                  </a:cubicBezTo>
                  <a:cubicBezTo>
                    <a:pt x="780" y="627"/>
                    <a:pt x="739" y="679"/>
                    <a:pt x="685" y="714"/>
                  </a:cubicBezTo>
                  <a:cubicBezTo>
                    <a:pt x="659" y="732"/>
                    <a:pt x="630" y="745"/>
                    <a:pt x="600" y="754"/>
                  </a:cubicBezTo>
                  <a:cubicBezTo>
                    <a:pt x="570" y="764"/>
                    <a:pt x="538" y="768"/>
                    <a:pt x="507" y="768"/>
                  </a:cubicBezTo>
                  <a:cubicBezTo>
                    <a:pt x="467" y="768"/>
                    <a:pt x="427" y="761"/>
                    <a:pt x="389" y="745"/>
                  </a:cubicBezTo>
                  <a:cubicBezTo>
                    <a:pt x="309" y="714"/>
                    <a:pt x="247" y="653"/>
                    <a:pt x="213" y="575"/>
                  </a:cubicBezTo>
                  <a:cubicBezTo>
                    <a:pt x="180" y="496"/>
                    <a:pt x="178" y="409"/>
                    <a:pt x="210" y="330"/>
                  </a:cubicBezTo>
                  <a:cubicBezTo>
                    <a:pt x="234" y="269"/>
                    <a:pt x="276" y="218"/>
                    <a:pt x="330" y="182"/>
                  </a:cubicBezTo>
                  <a:cubicBezTo>
                    <a:pt x="356" y="165"/>
                    <a:pt x="384" y="151"/>
                    <a:pt x="414" y="142"/>
                  </a:cubicBezTo>
                  <a:cubicBezTo>
                    <a:pt x="445" y="133"/>
                    <a:pt x="476" y="128"/>
                    <a:pt x="507" y="128"/>
                  </a:cubicBezTo>
                  <a:cubicBezTo>
                    <a:pt x="507" y="128"/>
                    <a:pt x="507" y="128"/>
                    <a:pt x="507" y="128"/>
                  </a:cubicBezTo>
                  <a:cubicBezTo>
                    <a:pt x="507" y="128"/>
                    <a:pt x="507" y="128"/>
                    <a:pt x="507" y="128"/>
                  </a:cubicBezTo>
                  <a:moveTo>
                    <a:pt x="507" y="0"/>
                  </a:moveTo>
                  <a:cubicBezTo>
                    <a:pt x="329" y="0"/>
                    <a:pt x="161" y="107"/>
                    <a:pt x="91" y="282"/>
                  </a:cubicBezTo>
                  <a:cubicBezTo>
                    <a:pt x="0" y="512"/>
                    <a:pt x="111" y="773"/>
                    <a:pt x="341" y="864"/>
                  </a:cubicBezTo>
                  <a:cubicBezTo>
                    <a:pt x="396" y="886"/>
                    <a:pt x="452" y="896"/>
                    <a:pt x="507" y="896"/>
                  </a:cubicBezTo>
                  <a:cubicBezTo>
                    <a:pt x="685" y="896"/>
                    <a:pt x="853" y="790"/>
                    <a:pt x="923" y="614"/>
                  </a:cubicBezTo>
                  <a:cubicBezTo>
                    <a:pt x="1015" y="385"/>
                    <a:pt x="903" y="124"/>
                    <a:pt x="673" y="32"/>
                  </a:cubicBezTo>
                  <a:cubicBezTo>
                    <a:pt x="619" y="11"/>
                    <a:pt x="563" y="0"/>
                    <a:pt x="507"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1" name="Freeform 92">
              <a:extLst>
                <a:ext uri="{FF2B5EF4-FFF2-40B4-BE49-F238E27FC236}">
                  <a16:creationId xmlns:a16="http://schemas.microsoft.com/office/drawing/2014/main" id="{472FCB7D-5704-4CE2-A09D-A0D3D026FBC1}"/>
                </a:ext>
              </a:extLst>
            </p:cNvPr>
            <p:cNvSpPr>
              <a:spLocks/>
            </p:cNvSpPr>
            <p:nvPr/>
          </p:nvSpPr>
          <p:spPr bwMode="auto">
            <a:xfrm>
              <a:off x="634" y="2783"/>
              <a:ext cx="31" cy="27"/>
            </a:xfrm>
            <a:custGeom>
              <a:avLst/>
              <a:gdLst>
                <a:gd name="T0" fmla="*/ 24 w 31"/>
                <a:gd name="T1" fmla="*/ 27 h 27"/>
                <a:gd name="T2" fmla="*/ 0 w 31"/>
                <a:gd name="T3" fmla="*/ 18 h 27"/>
                <a:gd name="T4" fmla="*/ 7 w 31"/>
                <a:gd name="T5" fmla="*/ 0 h 27"/>
                <a:gd name="T6" fmla="*/ 31 w 31"/>
                <a:gd name="T7" fmla="*/ 9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9"/>
                  </a:lnTo>
                  <a:lnTo>
                    <a:pt x="24" y="2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2" name="Freeform 93">
              <a:extLst>
                <a:ext uri="{FF2B5EF4-FFF2-40B4-BE49-F238E27FC236}">
                  <a16:creationId xmlns:a16="http://schemas.microsoft.com/office/drawing/2014/main" id="{142B3E9C-5A6A-4AC7-AC05-2826658519FA}"/>
                </a:ext>
              </a:extLst>
            </p:cNvPr>
            <p:cNvSpPr>
              <a:spLocks/>
            </p:cNvSpPr>
            <p:nvPr/>
          </p:nvSpPr>
          <p:spPr bwMode="auto">
            <a:xfrm>
              <a:off x="555" y="2980"/>
              <a:ext cx="31" cy="27"/>
            </a:xfrm>
            <a:custGeom>
              <a:avLst/>
              <a:gdLst>
                <a:gd name="T0" fmla="*/ 24 w 31"/>
                <a:gd name="T1" fmla="*/ 27 h 27"/>
                <a:gd name="T2" fmla="*/ 0 w 31"/>
                <a:gd name="T3" fmla="*/ 18 h 27"/>
                <a:gd name="T4" fmla="*/ 7 w 31"/>
                <a:gd name="T5" fmla="*/ 0 h 27"/>
                <a:gd name="T6" fmla="*/ 31 w 31"/>
                <a:gd name="T7" fmla="*/ 9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9"/>
                  </a:lnTo>
                  <a:lnTo>
                    <a:pt x="24" y="2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3" name="Freeform 94">
              <a:extLst>
                <a:ext uri="{FF2B5EF4-FFF2-40B4-BE49-F238E27FC236}">
                  <a16:creationId xmlns:a16="http://schemas.microsoft.com/office/drawing/2014/main" id="{8B1DDB49-54B8-4703-8D40-3F2B9BDB8756}"/>
                </a:ext>
              </a:extLst>
            </p:cNvPr>
            <p:cNvSpPr>
              <a:spLocks/>
            </p:cNvSpPr>
            <p:nvPr/>
          </p:nvSpPr>
          <p:spPr bwMode="auto">
            <a:xfrm>
              <a:off x="695" y="2919"/>
              <a:ext cx="27" cy="31"/>
            </a:xfrm>
            <a:custGeom>
              <a:avLst/>
              <a:gdLst>
                <a:gd name="T0" fmla="*/ 27 w 27"/>
                <a:gd name="T1" fmla="*/ 7 h 31"/>
                <a:gd name="T2" fmla="*/ 17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7" y="31"/>
                  </a:lnTo>
                  <a:lnTo>
                    <a:pt x="0" y="24"/>
                  </a:lnTo>
                  <a:lnTo>
                    <a:pt x="9" y="0"/>
                  </a:lnTo>
                  <a:lnTo>
                    <a:pt x="27" y="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4" name="Freeform 95">
              <a:extLst>
                <a:ext uri="{FF2B5EF4-FFF2-40B4-BE49-F238E27FC236}">
                  <a16:creationId xmlns:a16="http://schemas.microsoft.com/office/drawing/2014/main" id="{1476B10D-6A02-42C5-996D-6DEBF820FD02}"/>
                </a:ext>
              </a:extLst>
            </p:cNvPr>
            <p:cNvSpPr>
              <a:spLocks/>
            </p:cNvSpPr>
            <p:nvPr/>
          </p:nvSpPr>
          <p:spPr bwMode="auto">
            <a:xfrm>
              <a:off x="498" y="2840"/>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5" name="Freeform 96">
              <a:extLst>
                <a:ext uri="{FF2B5EF4-FFF2-40B4-BE49-F238E27FC236}">
                  <a16:creationId xmlns:a16="http://schemas.microsoft.com/office/drawing/2014/main" id="{1432810D-03DB-4B15-881A-8D3EDE2A487C}"/>
                </a:ext>
              </a:extLst>
            </p:cNvPr>
            <p:cNvSpPr>
              <a:spLocks/>
            </p:cNvSpPr>
            <p:nvPr/>
          </p:nvSpPr>
          <p:spPr bwMode="auto">
            <a:xfrm>
              <a:off x="498" y="2921"/>
              <a:ext cx="28" cy="32"/>
            </a:xfrm>
            <a:custGeom>
              <a:avLst/>
              <a:gdLst>
                <a:gd name="T0" fmla="*/ 18 w 28"/>
                <a:gd name="T1" fmla="*/ 0 h 32"/>
                <a:gd name="T2" fmla="*/ 28 w 28"/>
                <a:gd name="T3" fmla="*/ 24 h 32"/>
                <a:gd name="T4" fmla="*/ 11 w 28"/>
                <a:gd name="T5" fmla="*/ 32 h 32"/>
                <a:gd name="T6" fmla="*/ 0 w 28"/>
                <a:gd name="T7" fmla="*/ 8 h 32"/>
                <a:gd name="T8" fmla="*/ 18 w 28"/>
                <a:gd name="T9" fmla="*/ 0 h 32"/>
              </a:gdLst>
              <a:ahLst/>
              <a:cxnLst>
                <a:cxn ang="0">
                  <a:pos x="T0" y="T1"/>
                </a:cxn>
                <a:cxn ang="0">
                  <a:pos x="T2" y="T3"/>
                </a:cxn>
                <a:cxn ang="0">
                  <a:pos x="T4" y="T5"/>
                </a:cxn>
                <a:cxn ang="0">
                  <a:pos x="T6" y="T7"/>
                </a:cxn>
                <a:cxn ang="0">
                  <a:pos x="T8" y="T9"/>
                </a:cxn>
              </a:cxnLst>
              <a:rect l="0" t="0" r="r" b="b"/>
              <a:pathLst>
                <a:path w="28" h="32">
                  <a:moveTo>
                    <a:pt x="18" y="0"/>
                  </a:moveTo>
                  <a:lnTo>
                    <a:pt x="28" y="24"/>
                  </a:lnTo>
                  <a:lnTo>
                    <a:pt x="11" y="32"/>
                  </a:lnTo>
                  <a:lnTo>
                    <a:pt x="0" y="8"/>
                  </a:lnTo>
                  <a:lnTo>
                    <a:pt x="1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6" name="Freeform 97">
              <a:extLst>
                <a:ext uri="{FF2B5EF4-FFF2-40B4-BE49-F238E27FC236}">
                  <a16:creationId xmlns:a16="http://schemas.microsoft.com/office/drawing/2014/main" id="{3A40C95F-506D-4EC4-AA41-DB276A50A72E}"/>
                </a:ext>
              </a:extLst>
            </p:cNvPr>
            <p:cNvSpPr>
              <a:spLocks/>
            </p:cNvSpPr>
            <p:nvPr/>
          </p:nvSpPr>
          <p:spPr bwMode="auto">
            <a:xfrm>
              <a:off x="693" y="2838"/>
              <a:ext cx="28" cy="31"/>
            </a:xfrm>
            <a:custGeom>
              <a:avLst/>
              <a:gdLst>
                <a:gd name="T0" fmla="*/ 18 w 28"/>
                <a:gd name="T1" fmla="*/ 0 h 31"/>
                <a:gd name="T2" fmla="*/ 28 w 28"/>
                <a:gd name="T3" fmla="*/ 23 h 31"/>
                <a:gd name="T4" fmla="*/ 11 w 28"/>
                <a:gd name="T5" fmla="*/ 31 h 31"/>
                <a:gd name="T6" fmla="*/ 0 w 28"/>
                <a:gd name="T7" fmla="*/ 7 h 31"/>
                <a:gd name="T8" fmla="*/ 18 w 28"/>
                <a:gd name="T9" fmla="*/ 0 h 31"/>
              </a:gdLst>
              <a:ahLst/>
              <a:cxnLst>
                <a:cxn ang="0">
                  <a:pos x="T0" y="T1"/>
                </a:cxn>
                <a:cxn ang="0">
                  <a:pos x="T2" y="T3"/>
                </a:cxn>
                <a:cxn ang="0">
                  <a:pos x="T4" y="T5"/>
                </a:cxn>
                <a:cxn ang="0">
                  <a:pos x="T6" y="T7"/>
                </a:cxn>
                <a:cxn ang="0">
                  <a:pos x="T8" y="T9"/>
                </a:cxn>
              </a:cxnLst>
              <a:rect l="0" t="0" r="r" b="b"/>
              <a:pathLst>
                <a:path w="28" h="31">
                  <a:moveTo>
                    <a:pt x="18" y="0"/>
                  </a:moveTo>
                  <a:lnTo>
                    <a:pt x="28" y="23"/>
                  </a:lnTo>
                  <a:lnTo>
                    <a:pt x="11" y="31"/>
                  </a:lnTo>
                  <a:lnTo>
                    <a:pt x="0" y="7"/>
                  </a:lnTo>
                  <a:lnTo>
                    <a:pt x="1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7" name="Freeform 98">
              <a:extLst>
                <a:ext uri="{FF2B5EF4-FFF2-40B4-BE49-F238E27FC236}">
                  <a16:creationId xmlns:a16="http://schemas.microsoft.com/office/drawing/2014/main" id="{129F9F4B-71BA-409A-824C-C2401A3CB1FC}"/>
                </a:ext>
              </a:extLst>
            </p:cNvPr>
            <p:cNvSpPr>
              <a:spLocks/>
            </p:cNvSpPr>
            <p:nvPr/>
          </p:nvSpPr>
          <p:spPr bwMode="auto">
            <a:xfrm>
              <a:off x="636" y="2978"/>
              <a:ext cx="31" cy="28"/>
            </a:xfrm>
            <a:custGeom>
              <a:avLst/>
              <a:gdLst>
                <a:gd name="T0" fmla="*/ 0 w 31"/>
                <a:gd name="T1" fmla="*/ 11 h 28"/>
                <a:gd name="T2" fmla="*/ 24 w 31"/>
                <a:gd name="T3" fmla="*/ 0 h 28"/>
                <a:gd name="T4" fmla="*/ 31 w 31"/>
                <a:gd name="T5" fmla="*/ 18 h 28"/>
                <a:gd name="T6" fmla="*/ 8 w 31"/>
                <a:gd name="T7" fmla="*/ 28 h 28"/>
                <a:gd name="T8" fmla="*/ 0 w 31"/>
                <a:gd name="T9" fmla="*/ 11 h 28"/>
              </a:gdLst>
              <a:ahLst/>
              <a:cxnLst>
                <a:cxn ang="0">
                  <a:pos x="T0" y="T1"/>
                </a:cxn>
                <a:cxn ang="0">
                  <a:pos x="T2" y="T3"/>
                </a:cxn>
                <a:cxn ang="0">
                  <a:pos x="T4" y="T5"/>
                </a:cxn>
                <a:cxn ang="0">
                  <a:pos x="T6" y="T7"/>
                </a:cxn>
                <a:cxn ang="0">
                  <a:pos x="T8" y="T9"/>
                </a:cxn>
              </a:cxnLst>
              <a:rect l="0" t="0" r="r" b="b"/>
              <a:pathLst>
                <a:path w="31" h="28">
                  <a:moveTo>
                    <a:pt x="0" y="11"/>
                  </a:moveTo>
                  <a:lnTo>
                    <a:pt x="24" y="0"/>
                  </a:lnTo>
                  <a:lnTo>
                    <a:pt x="31" y="18"/>
                  </a:lnTo>
                  <a:lnTo>
                    <a:pt x="8" y="28"/>
                  </a:lnTo>
                  <a:lnTo>
                    <a:pt x="0" y="1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8" name="Freeform 99">
              <a:extLst>
                <a:ext uri="{FF2B5EF4-FFF2-40B4-BE49-F238E27FC236}">
                  <a16:creationId xmlns:a16="http://schemas.microsoft.com/office/drawing/2014/main" id="{88275316-4B2B-4E75-8DC1-0E9969CF01E4}"/>
                </a:ext>
              </a:extLst>
            </p:cNvPr>
            <p:cNvSpPr>
              <a:spLocks/>
            </p:cNvSpPr>
            <p:nvPr/>
          </p:nvSpPr>
          <p:spPr bwMode="auto">
            <a:xfrm>
              <a:off x="552" y="2784"/>
              <a:ext cx="32" cy="28"/>
            </a:xfrm>
            <a:custGeom>
              <a:avLst/>
              <a:gdLst>
                <a:gd name="T0" fmla="*/ 0 w 32"/>
                <a:gd name="T1" fmla="*/ 10 h 28"/>
                <a:gd name="T2" fmla="*/ 24 w 32"/>
                <a:gd name="T3" fmla="*/ 0 h 28"/>
                <a:gd name="T4" fmla="*/ 32 w 32"/>
                <a:gd name="T5" fmla="*/ 18 h 28"/>
                <a:gd name="T6" fmla="*/ 8 w 32"/>
                <a:gd name="T7" fmla="*/ 28 h 28"/>
                <a:gd name="T8" fmla="*/ 0 w 32"/>
                <a:gd name="T9" fmla="*/ 10 h 28"/>
              </a:gdLst>
              <a:ahLst/>
              <a:cxnLst>
                <a:cxn ang="0">
                  <a:pos x="T0" y="T1"/>
                </a:cxn>
                <a:cxn ang="0">
                  <a:pos x="T2" y="T3"/>
                </a:cxn>
                <a:cxn ang="0">
                  <a:pos x="T4" y="T5"/>
                </a:cxn>
                <a:cxn ang="0">
                  <a:pos x="T6" y="T7"/>
                </a:cxn>
                <a:cxn ang="0">
                  <a:pos x="T8" y="T9"/>
                </a:cxn>
              </a:cxnLst>
              <a:rect l="0" t="0" r="r" b="b"/>
              <a:pathLst>
                <a:path w="32" h="28">
                  <a:moveTo>
                    <a:pt x="0" y="10"/>
                  </a:moveTo>
                  <a:lnTo>
                    <a:pt x="24" y="0"/>
                  </a:lnTo>
                  <a:lnTo>
                    <a:pt x="32" y="18"/>
                  </a:lnTo>
                  <a:lnTo>
                    <a:pt x="8" y="28"/>
                  </a:lnTo>
                  <a:lnTo>
                    <a:pt x="0"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9" name="Freeform 100">
              <a:extLst>
                <a:ext uri="{FF2B5EF4-FFF2-40B4-BE49-F238E27FC236}">
                  <a16:creationId xmlns:a16="http://schemas.microsoft.com/office/drawing/2014/main" id="{10F3E533-3C7E-4800-BD7C-FBE9F4DE1572}"/>
                </a:ext>
              </a:extLst>
            </p:cNvPr>
            <p:cNvSpPr>
              <a:spLocks noEditPoints="1"/>
            </p:cNvSpPr>
            <p:nvPr/>
          </p:nvSpPr>
          <p:spPr bwMode="auto">
            <a:xfrm>
              <a:off x="419" y="2969"/>
              <a:ext cx="118" cy="117"/>
            </a:xfrm>
            <a:custGeom>
              <a:avLst/>
              <a:gdLst>
                <a:gd name="T0" fmla="*/ 258 w 516"/>
                <a:gd name="T1" fmla="*/ 128 h 512"/>
                <a:gd name="T2" fmla="*/ 348 w 516"/>
                <a:gd name="T3" fmla="*/ 165 h 512"/>
                <a:gd name="T4" fmla="*/ 386 w 516"/>
                <a:gd name="T5" fmla="*/ 254 h 512"/>
                <a:gd name="T6" fmla="*/ 350 w 516"/>
                <a:gd name="T7" fmla="*/ 345 h 512"/>
                <a:gd name="T8" fmla="*/ 260 w 516"/>
                <a:gd name="T9" fmla="*/ 384 h 512"/>
                <a:gd name="T10" fmla="*/ 258 w 516"/>
                <a:gd name="T11" fmla="*/ 384 h 512"/>
                <a:gd name="T12" fmla="*/ 168 w 516"/>
                <a:gd name="T13" fmla="*/ 347 h 512"/>
                <a:gd name="T14" fmla="*/ 130 w 516"/>
                <a:gd name="T15" fmla="*/ 258 h 512"/>
                <a:gd name="T16" fmla="*/ 166 w 516"/>
                <a:gd name="T17" fmla="*/ 167 h 512"/>
                <a:gd name="T18" fmla="*/ 256 w 516"/>
                <a:gd name="T19" fmla="*/ 128 h 512"/>
                <a:gd name="T20" fmla="*/ 258 w 516"/>
                <a:gd name="T21" fmla="*/ 128 h 512"/>
                <a:gd name="T22" fmla="*/ 258 w 516"/>
                <a:gd name="T23" fmla="*/ 128 h 512"/>
                <a:gd name="T24" fmla="*/ 258 w 516"/>
                <a:gd name="T25" fmla="*/ 128 h 512"/>
                <a:gd name="T26" fmla="*/ 258 w 516"/>
                <a:gd name="T27" fmla="*/ 0 h 512"/>
                <a:gd name="T28" fmla="*/ 255 w 516"/>
                <a:gd name="T29" fmla="*/ 0 h 512"/>
                <a:gd name="T30" fmla="*/ 2 w 516"/>
                <a:gd name="T31" fmla="*/ 259 h 512"/>
                <a:gd name="T32" fmla="*/ 258 w 516"/>
                <a:gd name="T33" fmla="*/ 512 h 512"/>
                <a:gd name="T34" fmla="*/ 261 w 516"/>
                <a:gd name="T35" fmla="*/ 512 h 512"/>
                <a:gd name="T36" fmla="*/ 514 w 516"/>
                <a:gd name="T37" fmla="*/ 253 h 512"/>
                <a:gd name="T38" fmla="*/ 258 w 516"/>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6" h="512">
                  <a:moveTo>
                    <a:pt x="258" y="128"/>
                  </a:moveTo>
                  <a:cubicBezTo>
                    <a:pt x="292" y="128"/>
                    <a:pt x="324" y="141"/>
                    <a:pt x="348" y="165"/>
                  </a:cubicBezTo>
                  <a:cubicBezTo>
                    <a:pt x="372" y="189"/>
                    <a:pt x="386" y="220"/>
                    <a:pt x="386" y="254"/>
                  </a:cubicBezTo>
                  <a:cubicBezTo>
                    <a:pt x="386" y="288"/>
                    <a:pt x="374" y="321"/>
                    <a:pt x="350" y="345"/>
                  </a:cubicBezTo>
                  <a:cubicBezTo>
                    <a:pt x="326" y="370"/>
                    <a:pt x="294" y="383"/>
                    <a:pt x="260" y="384"/>
                  </a:cubicBezTo>
                  <a:cubicBezTo>
                    <a:pt x="259" y="384"/>
                    <a:pt x="259" y="384"/>
                    <a:pt x="258" y="384"/>
                  </a:cubicBezTo>
                  <a:cubicBezTo>
                    <a:pt x="224" y="384"/>
                    <a:pt x="192" y="371"/>
                    <a:pt x="168" y="347"/>
                  </a:cubicBezTo>
                  <a:cubicBezTo>
                    <a:pt x="144" y="323"/>
                    <a:pt x="130" y="291"/>
                    <a:pt x="130" y="258"/>
                  </a:cubicBezTo>
                  <a:cubicBezTo>
                    <a:pt x="130" y="223"/>
                    <a:pt x="143" y="191"/>
                    <a:pt x="166" y="167"/>
                  </a:cubicBezTo>
                  <a:cubicBezTo>
                    <a:pt x="190" y="142"/>
                    <a:pt x="222" y="128"/>
                    <a:pt x="256" y="128"/>
                  </a:cubicBezTo>
                  <a:cubicBezTo>
                    <a:pt x="257" y="128"/>
                    <a:pt x="258" y="128"/>
                    <a:pt x="258" y="128"/>
                  </a:cubicBezTo>
                  <a:cubicBezTo>
                    <a:pt x="258" y="128"/>
                    <a:pt x="258" y="128"/>
                    <a:pt x="258" y="128"/>
                  </a:cubicBezTo>
                  <a:cubicBezTo>
                    <a:pt x="258" y="128"/>
                    <a:pt x="258" y="128"/>
                    <a:pt x="258" y="128"/>
                  </a:cubicBezTo>
                  <a:moveTo>
                    <a:pt x="258" y="0"/>
                  </a:moveTo>
                  <a:cubicBezTo>
                    <a:pt x="257" y="0"/>
                    <a:pt x="256" y="0"/>
                    <a:pt x="255" y="0"/>
                  </a:cubicBezTo>
                  <a:cubicBezTo>
                    <a:pt x="113" y="2"/>
                    <a:pt x="0" y="118"/>
                    <a:pt x="2" y="259"/>
                  </a:cubicBezTo>
                  <a:cubicBezTo>
                    <a:pt x="4" y="399"/>
                    <a:pt x="118" y="512"/>
                    <a:pt x="258" y="512"/>
                  </a:cubicBezTo>
                  <a:cubicBezTo>
                    <a:pt x="259" y="512"/>
                    <a:pt x="260" y="512"/>
                    <a:pt x="261" y="512"/>
                  </a:cubicBezTo>
                  <a:cubicBezTo>
                    <a:pt x="403" y="510"/>
                    <a:pt x="516" y="394"/>
                    <a:pt x="514" y="253"/>
                  </a:cubicBezTo>
                  <a:cubicBezTo>
                    <a:pt x="512" y="112"/>
                    <a:pt x="398" y="0"/>
                    <a:pt x="25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0" name="Freeform 101">
              <a:extLst>
                <a:ext uri="{FF2B5EF4-FFF2-40B4-BE49-F238E27FC236}">
                  <a16:creationId xmlns:a16="http://schemas.microsoft.com/office/drawing/2014/main" id="{8511670D-DF02-4B39-8BDC-D9CC12015731}"/>
                </a:ext>
              </a:extLst>
            </p:cNvPr>
            <p:cNvSpPr>
              <a:spLocks/>
            </p:cNvSpPr>
            <p:nvPr/>
          </p:nvSpPr>
          <p:spPr bwMode="auto">
            <a:xfrm>
              <a:off x="470" y="2959"/>
              <a:ext cx="14" cy="12"/>
            </a:xfrm>
            <a:custGeom>
              <a:avLst/>
              <a:gdLst>
                <a:gd name="T0" fmla="*/ 14 w 14"/>
                <a:gd name="T1" fmla="*/ 11 h 12"/>
                <a:gd name="T2" fmla="*/ 0 w 14"/>
                <a:gd name="T3" fmla="*/ 12 h 12"/>
                <a:gd name="T4" fmla="*/ 0 w 14"/>
                <a:gd name="T5" fmla="*/ 0 h 12"/>
                <a:gd name="T6" fmla="*/ 14 w 14"/>
                <a:gd name="T7" fmla="*/ 0 h 12"/>
                <a:gd name="T8" fmla="*/ 14 w 14"/>
                <a:gd name="T9" fmla="*/ 11 h 12"/>
              </a:gdLst>
              <a:ahLst/>
              <a:cxnLst>
                <a:cxn ang="0">
                  <a:pos x="T0" y="T1"/>
                </a:cxn>
                <a:cxn ang="0">
                  <a:pos x="T2" y="T3"/>
                </a:cxn>
                <a:cxn ang="0">
                  <a:pos x="T4" y="T5"/>
                </a:cxn>
                <a:cxn ang="0">
                  <a:pos x="T6" y="T7"/>
                </a:cxn>
                <a:cxn ang="0">
                  <a:pos x="T8" y="T9"/>
                </a:cxn>
              </a:cxnLst>
              <a:rect l="0" t="0" r="r" b="b"/>
              <a:pathLst>
                <a:path w="14" h="12">
                  <a:moveTo>
                    <a:pt x="14" y="11"/>
                  </a:moveTo>
                  <a:lnTo>
                    <a:pt x="0" y="12"/>
                  </a:lnTo>
                  <a:lnTo>
                    <a:pt x="0" y="0"/>
                  </a:lnTo>
                  <a:lnTo>
                    <a:pt x="14" y="0"/>
                  </a:lnTo>
                  <a:lnTo>
                    <a:pt x="14" y="11"/>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1" name="Rectangle 102">
              <a:extLst>
                <a:ext uri="{FF2B5EF4-FFF2-40B4-BE49-F238E27FC236}">
                  <a16:creationId xmlns:a16="http://schemas.microsoft.com/office/drawing/2014/main" id="{F82BFE48-5969-4488-BB28-30250637A659}"/>
                </a:ext>
              </a:extLst>
            </p:cNvPr>
            <p:cNvSpPr>
              <a:spLocks noChangeArrowheads="1"/>
            </p:cNvSpPr>
            <p:nvPr/>
          </p:nvSpPr>
          <p:spPr bwMode="auto">
            <a:xfrm>
              <a:off x="472" y="3083"/>
              <a:ext cx="15" cy="1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2" name="Freeform 103">
              <a:extLst>
                <a:ext uri="{FF2B5EF4-FFF2-40B4-BE49-F238E27FC236}">
                  <a16:creationId xmlns:a16="http://schemas.microsoft.com/office/drawing/2014/main" id="{924B040E-7BB8-4269-B834-E015EC4C2BC6}"/>
                </a:ext>
              </a:extLst>
            </p:cNvPr>
            <p:cNvSpPr>
              <a:spLocks/>
            </p:cNvSpPr>
            <p:nvPr/>
          </p:nvSpPr>
          <p:spPr bwMode="auto">
            <a:xfrm>
              <a:off x="534" y="3020"/>
              <a:ext cx="13" cy="14"/>
            </a:xfrm>
            <a:custGeom>
              <a:avLst/>
              <a:gdLst>
                <a:gd name="T0" fmla="*/ 12 w 13"/>
                <a:gd name="T1" fmla="*/ 0 h 14"/>
                <a:gd name="T2" fmla="*/ 13 w 13"/>
                <a:gd name="T3" fmla="*/ 14 h 14"/>
                <a:gd name="T4" fmla="*/ 0 w 13"/>
                <a:gd name="T5" fmla="*/ 14 h 14"/>
                <a:gd name="T6" fmla="*/ 0 w 13"/>
                <a:gd name="T7" fmla="*/ 0 h 14"/>
                <a:gd name="T8" fmla="*/ 12 w 13"/>
                <a:gd name="T9" fmla="*/ 0 h 14"/>
              </a:gdLst>
              <a:ahLst/>
              <a:cxnLst>
                <a:cxn ang="0">
                  <a:pos x="T0" y="T1"/>
                </a:cxn>
                <a:cxn ang="0">
                  <a:pos x="T2" y="T3"/>
                </a:cxn>
                <a:cxn ang="0">
                  <a:pos x="T4" y="T5"/>
                </a:cxn>
                <a:cxn ang="0">
                  <a:pos x="T6" y="T7"/>
                </a:cxn>
                <a:cxn ang="0">
                  <a:pos x="T8" y="T9"/>
                </a:cxn>
              </a:cxnLst>
              <a:rect l="0" t="0" r="r" b="b"/>
              <a:pathLst>
                <a:path w="13" h="14">
                  <a:moveTo>
                    <a:pt x="12" y="0"/>
                  </a:moveTo>
                  <a:lnTo>
                    <a:pt x="13" y="14"/>
                  </a:lnTo>
                  <a:lnTo>
                    <a:pt x="0" y="14"/>
                  </a:lnTo>
                  <a:lnTo>
                    <a:pt x="0" y="0"/>
                  </a:lnTo>
                  <a:lnTo>
                    <a:pt x="12"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3" name="Rectangle 104">
              <a:extLst>
                <a:ext uri="{FF2B5EF4-FFF2-40B4-BE49-F238E27FC236}">
                  <a16:creationId xmlns:a16="http://schemas.microsoft.com/office/drawing/2014/main" id="{8D896DF4-2888-49E8-9E49-E6687901F84D}"/>
                </a:ext>
              </a:extLst>
            </p:cNvPr>
            <p:cNvSpPr>
              <a:spLocks noChangeArrowheads="1"/>
            </p:cNvSpPr>
            <p:nvPr/>
          </p:nvSpPr>
          <p:spPr bwMode="auto">
            <a:xfrm>
              <a:off x="410" y="3020"/>
              <a:ext cx="12" cy="1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4" name="Freeform 105">
              <a:extLst>
                <a:ext uri="{FF2B5EF4-FFF2-40B4-BE49-F238E27FC236}">
                  <a16:creationId xmlns:a16="http://schemas.microsoft.com/office/drawing/2014/main" id="{BB82944B-7D69-4501-BAB3-EDCD4EB9F138}"/>
                </a:ext>
              </a:extLst>
            </p:cNvPr>
            <p:cNvSpPr>
              <a:spLocks/>
            </p:cNvSpPr>
            <p:nvPr/>
          </p:nvSpPr>
          <p:spPr bwMode="auto">
            <a:xfrm>
              <a:off x="425" y="3062"/>
              <a:ext cx="19" cy="18"/>
            </a:xfrm>
            <a:custGeom>
              <a:avLst/>
              <a:gdLst>
                <a:gd name="T0" fmla="*/ 8 w 19"/>
                <a:gd name="T1" fmla="*/ 0 h 18"/>
                <a:gd name="T2" fmla="*/ 19 w 19"/>
                <a:gd name="T3" fmla="*/ 10 h 18"/>
                <a:gd name="T4" fmla="*/ 11 w 19"/>
                <a:gd name="T5" fmla="*/ 18 h 18"/>
                <a:gd name="T6" fmla="*/ 0 w 19"/>
                <a:gd name="T7" fmla="*/ 8 h 18"/>
                <a:gd name="T8" fmla="*/ 8 w 19"/>
                <a:gd name="T9" fmla="*/ 0 h 18"/>
              </a:gdLst>
              <a:ahLst/>
              <a:cxnLst>
                <a:cxn ang="0">
                  <a:pos x="T0" y="T1"/>
                </a:cxn>
                <a:cxn ang="0">
                  <a:pos x="T2" y="T3"/>
                </a:cxn>
                <a:cxn ang="0">
                  <a:pos x="T4" y="T5"/>
                </a:cxn>
                <a:cxn ang="0">
                  <a:pos x="T6" y="T7"/>
                </a:cxn>
                <a:cxn ang="0">
                  <a:pos x="T8" y="T9"/>
                </a:cxn>
              </a:cxnLst>
              <a:rect l="0" t="0" r="r" b="b"/>
              <a:pathLst>
                <a:path w="19" h="18">
                  <a:moveTo>
                    <a:pt x="8" y="0"/>
                  </a:moveTo>
                  <a:lnTo>
                    <a:pt x="19" y="10"/>
                  </a:lnTo>
                  <a:lnTo>
                    <a:pt x="11" y="18"/>
                  </a:lnTo>
                  <a:lnTo>
                    <a:pt x="0" y="8"/>
                  </a:lnTo>
                  <a:lnTo>
                    <a:pt x="8"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5" name="Freeform 106">
              <a:extLst>
                <a:ext uri="{FF2B5EF4-FFF2-40B4-BE49-F238E27FC236}">
                  <a16:creationId xmlns:a16="http://schemas.microsoft.com/office/drawing/2014/main" id="{74667DF1-35D8-47F3-8E5B-88CDB38F32C1}"/>
                </a:ext>
              </a:extLst>
            </p:cNvPr>
            <p:cNvSpPr>
              <a:spLocks/>
            </p:cNvSpPr>
            <p:nvPr/>
          </p:nvSpPr>
          <p:spPr bwMode="auto">
            <a:xfrm>
              <a:off x="513" y="2974"/>
              <a:ext cx="18" cy="18"/>
            </a:xfrm>
            <a:custGeom>
              <a:avLst/>
              <a:gdLst>
                <a:gd name="T0" fmla="*/ 8 w 18"/>
                <a:gd name="T1" fmla="*/ 0 h 18"/>
                <a:gd name="T2" fmla="*/ 18 w 18"/>
                <a:gd name="T3" fmla="*/ 10 h 18"/>
                <a:gd name="T4" fmla="*/ 10 w 18"/>
                <a:gd name="T5" fmla="*/ 18 h 18"/>
                <a:gd name="T6" fmla="*/ 0 w 18"/>
                <a:gd name="T7" fmla="*/ 8 h 18"/>
                <a:gd name="T8" fmla="*/ 8 w 18"/>
                <a:gd name="T9" fmla="*/ 0 h 18"/>
              </a:gdLst>
              <a:ahLst/>
              <a:cxnLst>
                <a:cxn ang="0">
                  <a:pos x="T0" y="T1"/>
                </a:cxn>
                <a:cxn ang="0">
                  <a:pos x="T2" y="T3"/>
                </a:cxn>
                <a:cxn ang="0">
                  <a:pos x="T4" y="T5"/>
                </a:cxn>
                <a:cxn ang="0">
                  <a:pos x="T6" y="T7"/>
                </a:cxn>
                <a:cxn ang="0">
                  <a:pos x="T8" y="T9"/>
                </a:cxn>
              </a:cxnLst>
              <a:rect l="0" t="0" r="r" b="b"/>
              <a:pathLst>
                <a:path w="18" h="18">
                  <a:moveTo>
                    <a:pt x="8" y="0"/>
                  </a:moveTo>
                  <a:lnTo>
                    <a:pt x="18" y="10"/>
                  </a:lnTo>
                  <a:lnTo>
                    <a:pt x="10" y="18"/>
                  </a:lnTo>
                  <a:lnTo>
                    <a:pt x="0" y="8"/>
                  </a:lnTo>
                  <a:lnTo>
                    <a:pt x="8"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6" name="Freeform 107">
              <a:extLst>
                <a:ext uri="{FF2B5EF4-FFF2-40B4-BE49-F238E27FC236}">
                  <a16:creationId xmlns:a16="http://schemas.microsoft.com/office/drawing/2014/main" id="{0A185711-BC1C-4938-A2D1-97787070A8BC}"/>
                </a:ext>
              </a:extLst>
            </p:cNvPr>
            <p:cNvSpPr>
              <a:spLocks/>
            </p:cNvSpPr>
            <p:nvPr/>
          </p:nvSpPr>
          <p:spPr bwMode="auto">
            <a:xfrm>
              <a:off x="514" y="3061"/>
              <a:ext cx="19" cy="18"/>
            </a:xfrm>
            <a:custGeom>
              <a:avLst/>
              <a:gdLst>
                <a:gd name="T0" fmla="*/ 0 w 19"/>
                <a:gd name="T1" fmla="*/ 10 h 18"/>
                <a:gd name="T2" fmla="*/ 10 w 19"/>
                <a:gd name="T3" fmla="*/ 0 h 18"/>
                <a:gd name="T4" fmla="*/ 19 w 19"/>
                <a:gd name="T5" fmla="*/ 8 h 18"/>
                <a:gd name="T6" fmla="*/ 8 w 19"/>
                <a:gd name="T7" fmla="*/ 18 h 18"/>
                <a:gd name="T8" fmla="*/ 0 w 19"/>
                <a:gd name="T9" fmla="*/ 10 h 18"/>
              </a:gdLst>
              <a:ahLst/>
              <a:cxnLst>
                <a:cxn ang="0">
                  <a:pos x="T0" y="T1"/>
                </a:cxn>
                <a:cxn ang="0">
                  <a:pos x="T2" y="T3"/>
                </a:cxn>
                <a:cxn ang="0">
                  <a:pos x="T4" y="T5"/>
                </a:cxn>
                <a:cxn ang="0">
                  <a:pos x="T6" y="T7"/>
                </a:cxn>
                <a:cxn ang="0">
                  <a:pos x="T8" y="T9"/>
                </a:cxn>
              </a:cxnLst>
              <a:rect l="0" t="0" r="r" b="b"/>
              <a:pathLst>
                <a:path w="19" h="18">
                  <a:moveTo>
                    <a:pt x="0" y="10"/>
                  </a:moveTo>
                  <a:lnTo>
                    <a:pt x="10" y="0"/>
                  </a:lnTo>
                  <a:lnTo>
                    <a:pt x="19" y="8"/>
                  </a:lnTo>
                  <a:lnTo>
                    <a:pt x="8" y="18"/>
                  </a:lnTo>
                  <a:lnTo>
                    <a:pt x="0" y="1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7" name="Freeform 108">
              <a:extLst>
                <a:ext uri="{FF2B5EF4-FFF2-40B4-BE49-F238E27FC236}">
                  <a16:creationId xmlns:a16="http://schemas.microsoft.com/office/drawing/2014/main" id="{0809AF05-8687-479C-907B-7BD43E37DBC4}"/>
                </a:ext>
              </a:extLst>
            </p:cNvPr>
            <p:cNvSpPr>
              <a:spLocks/>
            </p:cNvSpPr>
            <p:nvPr/>
          </p:nvSpPr>
          <p:spPr bwMode="auto">
            <a:xfrm>
              <a:off x="424" y="2975"/>
              <a:ext cx="19" cy="18"/>
            </a:xfrm>
            <a:custGeom>
              <a:avLst/>
              <a:gdLst>
                <a:gd name="T0" fmla="*/ 0 w 19"/>
                <a:gd name="T1" fmla="*/ 11 h 18"/>
                <a:gd name="T2" fmla="*/ 11 w 19"/>
                <a:gd name="T3" fmla="*/ 0 h 18"/>
                <a:gd name="T4" fmla="*/ 19 w 19"/>
                <a:gd name="T5" fmla="*/ 8 h 18"/>
                <a:gd name="T6" fmla="*/ 8 w 19"/>
                <a:gd name="T7" fmla="*/ 18 h 18"/>
                <a:gd name="T8" fmla="*/ 0 w 19"/>
                <a:gd name="T9" fmla="*/ 11 h 18"/>
              </a:gdLst>
              <a:ahLst/>
              <a:cxnLst>
                <a:cxn ang="0">
                  <a:pos x="T0" y="T1"/>
                </a:cxn>
                <a:cxn ang="0">
                  <a:pos x="T2" y="T3"/>
                </a:cxn>
                <a:cxn ang="0">
                  <a:pos x="T4" y="T5"/>
                </a:cxn>
                <a:cxn ang="0">
                  <a:pos x="T6" y="T7"/>
                </a:cxn>
                <a:cxn ang="0">
                  <a:pos x="T8" y="T9"/>
                </a:cxn>
              </a:cxnLst>
              <a:rect l="0" t="0" r="r" b="b"/>
              <a:pathLst>
                <a:path w="19" h="18">
                  <a:moveTo>
                    <a:pt x="0" y="11"/>
                  </a:moveTo>
                  <a:lnTo>
                    <a:pt x="11" y="0"/>
                  </a:lnTo>
                  <a:lnTo>
                    <a:pt x="19" y="8"/>
                  </a:lnTo>
                  <a:lnTo>
                    <a:pt x="8" y="18"/>
                  </a:lnTo>
                  <a:lnTo>
                    <a:pt x="0" y="11"/>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66" name="Group 235">
            <a:extLst>
              <a:ext uri="{FF2B5EF4-FFF2-40B4-BE49-F238E27FC236}">
                <a16:creationId xmlns:a16="http://schemas.microsoft.com/office/drawing/2014/main" id="{C1AC5088-DA96-4ED4-A7E5-DA2EB99C82AC}"/>
              </a:ext>
            </a:extLst>
          </p:cNvPr>
          <p:cNvGrpSpPr>
            <a:grpSpLocks noChangeAspect="1"/>
          </p:cNvGrpSpPr>
          <p:nvPr/>
        </p:nvGrpSpPr>
        <p:grpSpPr bwMode="auto">
          <a:xfrm>
            <a:off x="1543809" y="2841400"/>
            <a:ext cx="449263" cy="495300"/>
            <a:chOff x="5822" y="2781"/>
            <a:chExt cx="283" cy="312"/>
          </a:xfrm>
        </p:grpSpPr>
        <p:sp>
          <p:nvSpPr>
            <p:cNvPr id="67" name="Rectangle 236">
              <a:extLst>
                <a:ext uri="{FF2B5EF4-FFF2-40B4-BE49-F238E27FC236}">
                  <a16:creationId xmlns:a16="http://schemas.microsoft.com/office/drawing/2014/main" id="{83ADF6D8-3E8A-41F7-92DF-B1C1873528A5}"/>
                </a:ext>
              </a:extLst>
            </p:cNvPr>
            <p:cNvSpPr>
              <a:spLocks noChangeArrowheads="1"/>
            </p:cNvSpPr>
            <p:nvPr/>
          </p:nvSpPr>
          <p:spPr bwMode="auto">
            <a:xfrm>
              <a:off x="5849" y="2781"/>
              <a:ext cx="5" cy="31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8" name="Rectangle 237">
              <a:extLst>
                <a:ext uri="{FF2B5EF4-FFF2-40B4-BE49-F238E27FC236}">
                  <a16:creationId xmlns:a16="http://schemas.microsoft.com/office/drawing/2014/main" id="{F08AB741-4FF6-476D-B2E0-61CC6D60EE49}"/>
                </a:ext>
              </a:extLst>
            </p:cNvPr>
            <p:cNvSpPr>
              <a:spLocks noChangeArrowheads="1"/>
            </p:cNvSpPr>
            <p:nvPr/>
          </p:nvSpPr>
          <p:spPr bwMode="auto">
            <a:xfrm>
              <a:off x="5961" y="2781"/>
              <a:ext cx="5" cy="31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9" name="Rectangle 238">
              <a:extLst>
                <a:ext uri="{FF2B5EF4-FFF2-40B4-BE49-F238E27FC236}">
                  <a16:creationId xmlns:a16="http://schemas.microsoft.com/office/drawing/2014/main" id="{6B1AA261-18F3-4DBE-AB28-37FDCAAB5DD4}"/>
                </a:ext>
              </a:extLst>
            </p:cNvPr>
            <p:cNvSpPr>
              <a:spLocks noChangeArrowheads="1"/>
            </p:cNvSpPr>
            <p:nvPr/>
          </p:nvSpPr>
          <p:spPr bwMode="auto">
            <a:xfrm>
              <a:off x="6073" y="2781"/>
              <a:ext cx="5" cy="31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0" name="Oval 239">
              <a:extLst>
                <a:ext uri="{FF2B5EF4-FFF2-40B4-BE49-F238E27FC236}">
                  <a16:creationId xmlns:a16="http://schemas.microsoft.com/office/drawing/2014/main" id="{AFFEDE4B-A7E5-4EB4-97CA-F7AF5513D799}"/>
                </a:ext>
              </a:extLst>
            </p:cNvPr>
            <p:cNvSpPr>
              <a:spLocks noChangeArrowheads="1"/>
            </p:cNvSpPr>
            <p:nvPr/>
          </p:nvSpPr>
          <p:spPr bwMode="auto">
            <a:xfrm>
              <a:off x="5822" y="2844"/>
              <a:ext cx="59" cy="5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1" name="Oval 240">
              <a:extLst>
                <a:ext uri="{FF2B5EF4-FFF2-40B4-BE49-F238E27FC236}">
                  <a16:creationId xmlns:a16="http://schemas.microsoft.com/office/drawing/2014/main" id="{0D639F59-AA7C-42BB-AEC1-E5D044125CEB}"/>
                </a:ext>
              </a:extLst>
            </p:cNvPr>
            <p:cNvSpPr>
              <a:spLocks noChangeArrowheads="1"/>
            </p:cNvSpPr>
            <p:nvPr/>
          </p:nvSpPr>
          <p:spPr bwMode="auto">
            <a:xfrm>
              <a:off x="5934" y="2979"/>
              <a:ext cx="59" cy="59"/>
            </a:xfrm>
            <a:prstGeom prst="ellipse">
              <a:avLst/>
            </a:prstGeom>
            <a:solidFill>
              <a:srgbClr val="F8F7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2" name="Oval 241">
              <a:extLst>
                <a:ext uri="{FF2B5EF4-FFF2-40B4-BE49-F238E27FC236}">
                  <a16:creationId xmlns:a16="http://schemas.microsoft.com/office/drawing/2014/main" id="{1B01F0FB-20AC-451E-A334-DB7660B77848}"/>
                </a:ext>
              </a:extLst>
            </p:cNvPr>
            <p:cNvSpPr>
              <a:spLocks noChangeArrowheads="1"/>
            </p:cNvSpPr>
            <p:nvPr/>
          </p:nvSpPr>
          <p:spPr bwMode="auto">
            <a:xfrm>
              <a:off x="6046" y="2830"/>
              <a:ext cx="59" cy="5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pic>
        <p:nvPicPr>
          <p:cNvPr id="61" name="Picture 60">
            <a:extLst>
              <a:ext uri="{FF2B5EF4-FFF2-40B4-BE49-F238E27FC236}">
                <a16:creationId xmlns:a16="http://schemas.microsoft.com/office/drawing/2014/main" id="{F3408781-9B20-4559-A594-1C51E89D0B60}"/>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10991875" y="5613471"/>
            <a:ext cx="611862" cy="611860"/>
          </a:xfrm>
          <a:prstGeom prst="rect">
            <a:avLst/>
          </a:prstGeom>
        </p:spPr>
      </p:pic>
      <p:pic>
        <p:nvPicPr>
          <p:cNvPr id="5" name="Picture 4" descr="A picture containing white&#10;&#10;Description automatically generated">
            <a:extLst>
              <a:ext uri="{FF2B5EF4-FFF2-40B4-BE49-F238E27FC236}">
                <a16:creationId xmlns:a16="http://schemas.microsoft.com/office/drawing/2014/main" id="{3A742EBA-632C-4595-B8BF-B2EA737DD113}"/>
              </a:ext>
            </a:extLst>
          </p:cNvPr>
          <p:cNvPicPr>
            <a:picLocks noChangeAspect="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007293" y="5736360"/>
            <a:ext cx="1053474" cy="366082"/>
          </a:xfrm>
          <a:prstGeom prst="rect">
            <a:avLst/>
          </a:prstGeom>
        </p:spPr>
      </p:pic>
      <p:pic>
        <p:nvPicPr>
          <p:cNvPr id="7" name="Picture 6" descr="A picture containing meter&#10;&#10;Description automatically generated">
            <a:extLst>
              <a:ext uri="{FF2B5EF4-FFF2-40B4-BE49-F238E27FC236}">
                <a16:creationId xmlns:a16="http://schemas.microsoft.com/office/drawing/2014/main" id="{F9D16D13-F4A0-4568-837B-B9303229E449}"/>
              </a:ext>
            </a:extLst>
          </p:cNvPr>
          <p:cNvPicPr>
            <a:picLocks noChangeAspect="1"/>
          </p:cNvPicPr>
          <p:nvPr/>
        </p:nvPicPr>
        <p:blipFill>
          <a:blip r:embed="rId12">
            <a:extLst>
              <a:ext uri="{BEBA8EAE-BF5A-486C-A8C5-ECC9F3942E4B}">
                <a14:imgProps xmlns:a14="http://schemas.microsoft.com/office/drawing/2010/main">
                  <a14:imgLayer r:embed="rId13">
                    <a14:imgEffect>
                      <a14:colorTemperature colorTemp="2759"/>
                    </a14:imgEffect>
                    <a14:imgEffect>
                      <a14:saturation sat="93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066359" y="5774106"/>
            <a:ext cx="1861751" cy="290591"/>
          </a:xfrm>
          <a:prstGeom prst="rect">
            <a:avLst/>
          </a:prstGeom>
        </p:spPr>
      </p:pic>
      <p:sp>
        <p:nvSpPr>
          <p:cNvPr id="6" name="Freeform: Shape 5">
            <a:extLst>
              <a:ext uri="{FF2B5EF4-FFF2-40B4-BE49-F238E27FC236}">
                <a16:creationId xmlns:a16="http://schemas.microsoft.com/office/drawing/2014/main" id="{44EEE373-4407-4703-BA26-1C26E2A4ECA5}"/>
              </a:ext>
            </a:extLst>
          </p:cNvPr>
          <p:cNvSpPr/>
          <p:nvPr/>
        </p:nvSpPr>
        <p:spPr>
          <a:xfrm>
            <a:off x="4859221" y="5593129"/>
            <a:ext cx="652542" cy="652542"/>
          </a:xfrm>
          <a:custGeom>
            <a:avLst/>
            <a:gdLst>
              <a:gd name="connsiteX0" fmla="*/ 1149576 w 1149575"/>
              <a:gd name="connsiteY0" fmla="*/ 574788 h 1149575"/>
              <a:gd name="connsiteX1" fmla="*/ 574788 w 1149575"/>
              <a:gd name="connsiteY1" fmla="*/ 1149576 h 1149575"/>
              <a:gd name="connsiteX2" fmla="*/ 0 w 1149575"/>
              <a:gd name="connsiteY2" fmla="*/ 574788 h 1149575"/>
              <a:gd name="connsiteX3" fmla="*/ 574788 w 1149575"/>
              <a:gd name="connsiteY3" fmla="*/ 0 h 1149575"/>
              <a:gd name="connsiteX4" fmla="*/ 1149576 w 1149575"/>
              <a:gd name="connsiteY4" fmla="*/ 574788 h 1149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9575" h="1149575">
                <a:moveTo>
                  <a:pt x="1149576" y="574788"/>
                </a:moveTo>
                <a:cubicBezTo>
                  <a:pt x="1149576" y="892447"/>
                  <a:pt x="891962" y="1149576"/>
                  <a:pt x="574788" y="1149576"/>
                </a:cubicBezTo>
                <a:cubicBezTo>
                  <a:pt x="257129" y="1149576"/>
                  <a:pt x="0" y="891962"/>
                  <a:pt x="0" y="574788"/>
                </a:cubicBezTo>
                <a:cubicBezTo>
                  <a:pt x="0" y="257129"/>
                  <a:pt x="257613" y="0"/>
                  <a:pt x="574788" y="0"/>
                </a:cubicBezTo>
                <a:cubicBezTo>
                  <a:pt x="891962" y="0"/>
                  <a:pt x="1149576" y="257129"/>
                  <a:pt x="1149576" y="574788"/>
                </a:cubicBezTo>
              </a:path>
            </a:pathLst>
          </a:custGeom>
          <a:solidFill>
            <a:srgbClr val="FFFFFF"/>
          </a:solidFill>
          <a:ln w="482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useBgFill="1">
        <p:nvSpPr>
          <p:cNvPr id="9" name="Freeform: Shape 8">
            <a:extLst>
              <a:ext uri="{FF2B5EF4-FFF2-40B4-BE49-F238E27FC236}">
                <a16:creationId xmlns:a16="http://schemas.microsoft.com/office/drawing/2014/main" id="{B24DC3AB-C5D4-4A3A-AF50-2EAEDAEFCC3A}"/>
              </a:ext>
            </a:extLst>
          </p:cNvPr>
          <p:cNvSpPr/>
          <p:nvPr/>
        </p:nvSpPr>
        <p:spPr>
          <a:xfrm>
            <a:off x="4876776" y="5606681"/>
            <a:ext cx="617979" cy="614588"/>
          </a:xfrm>
          <a:custGeom>
            <a:avLst/>
            <a:gdLst>
              <a:gd name="connsiteX0" fmla="*/ 630959 w 1147639"/>
              <a:gd name="connsiteY0" fmla="*/ 248413 h 1141343"/>
              <a:gd name="connsiteX1" fmla="*/ 573335 w 1147639"/>
              <a:gd name="connsiteY1" fmla="*/ 243571 h 1141343"/>
              <a:gd name="connsiteX2" fmla="*/ 515711 w 1147639"/>
              <a:gd name="connsiteY2" fmla="*/ 248413 h 1141343"/>
              <a:gd name="connsiteX3" fmla="*/ 513774 w 1147639"/>
              <a:gd name="connsiteY3" fmla="*/ 244539 h 1141343"/>
              <a:gd name="connsiteX4" fmla="*/ 573335 w 1147639"/>
              <a:gd name="connsiteY4" fmla="*/ 199021 h 1141343"/>
              <a:gd name="connsiteX5" fmla="*/ 632896 w 1147639"/>
              <a:gd name="connsiteY5" fmla="*/ 244539 h 1141343"/>
              <a:gd name="connsiteX6" fmla="*/ 630959 w 1147639"/>
              <a:gd name="connsiteY6" fmla="*/ 248413 h 1141343"/>
              <a:gd name="connsiteX7" fmla="*/ 531207 w 1147639"/>
              <a:gd name="connsiteY7" fmla="*/ 533144 h 1141343"/>
              <a:gd name="connsiteX8" fmla="*/ 527333 w 1147639"/>
              <a:gd name="connsiteY8" fmla="*/ 537018 h 1141343"/>
              <a:gd name="connsiteX9" fmla="*/ 572851 w 1147639"/>
              <a:gd name="connsiteY9" fmla="*/ 567524 h 1141343"/>
              <a:gd name="connsiteX10" fmla="*/ 618369 w 1147639"/>
              <a:gd name="connsiteY10" fmla="*/ 537018 h 1141343"/>
              <a:gd name="connsiteX11" fmla="*/ 614495 w 1147639"/>
              <a:gd name="connsiteY11" fmla="*/ 533144 h 1141343"/>
              <a:gd name="connsiteX12" fmla="*/ 572851 w 1147639"/>
              <a:gd name="connsiteY12" fmla="*/ 537018 h 1141343"/>
              <a:gd name="connsiteX13" fmla="*/ 531207 w 1147639"/>
              <a:gd name="connsiteY13" fmla="*/ 533144 h 1141343"/>
              <a:gd name="connsiteX14" fmla="*/ 572851 w 1147639"/>
              <a:gd name="connsiteY14" fmla="*/ 497794 h 1141343"/>
              <a:gd name="connsiteX15" fmla="*/ 559777 w 1147639"/>
              <a:gd name="connsiteY15" fmla="*/ 495373 h 1141343"/>
              <a:gd name="connsiteX16" fmla="*/ 544281 w 1147639"/>
              <a:gd name="connsiteY16" fmla="*/ 502153 h 1141343"/>
              <a:gd name="connsiteX17" fmla="*/ 546218 w 1147639"/>
              <a:gd name="connsiteY17" fmla="*/ 506511 h 1141343"/>
              <a:gd name="connsiteX18" fmla="*/ 572851 w 1147639"/>
              <a:gd name="connsiteY18" fmla="*/ 513774 h 1141343"/>
              <a:gd name="connsiteX19" fmla="*/ 599484 w 1147639"/>
              <a:gd name="connsiteY19" fmla="*/ 506511 h 1141343"/>
              <a:gd name="connsiteX20" fmla="*/ 601421 w 1147639"/>
              <a:gd name="connsiteY20" fmla="*/ 502153 h 1141343"/>
              <a:gd name="connsiteX21" fmla="*/ 585925 w 1147639"/>
              <a:gd name="connsiteY21" fmla="*/ 495373 h 1141343"/>
              <a:gd name="connsiteX22" fmla="*/ 572851 w 1147639"/>
              <a:gd name="connsiteY22" fmla="*/ 497794 h 1141343"/>
              <a:gd name="connsiteX23" fmla="*/ 1147155 w 1147639"/>
              <a:gd name="connsiteY23" fmla="*/ 606263 h 1141343"/>
              <a:gd name="connsiteX24" fmla="*/ 1143765 w 1147639"/>
              <a:gd name="connsiteY24" fmla="*/ 646939 h 1141343"/>
              <a:gd name="connsiteX25" fmla="*/ 988810 w 1147639"/>
              <a:gd name="connsiteY25" fmla="*/ 602389 h 1141343"/>
              <a:gd name="connsiteX26" fmla="*/ 998494 w 1147639"/>
              <a:gd name="connsiteY26" fmla="*/ 645486 h 1141343"/>
              <a:gd name="connsiteX27" fmla="*/ 1136986 w 1147639"/>
              <a:gd name="connsiteY27" fmla="*/ 689068 h 1141343"/>
              <a:gd name="connsiteX28" fmla="*/ 1125364 w 1147639"/>
              <a:gd name="connsiteY28" fmla="*/ 735554 h 1141343"/>
              <a:gd name="connsiteX29" fmla="*/ 1003821 w 1147639"/>
              <a:gd name="connsiteY29" fmla="*/ 693426 h 1141343"/>
              <a:gd name="connsiteX30" fmla="*/ 1004305 w 1147639"/>
              <a:gd name="connsiteY30" fmla="*/ 717638 h 1141343"/>
              <a:gd name="connsiteX31" fmla="*/ 1003821 w 1147639"/>
              <a:gd name="connsiteY31" fmla="*/ 731196 h 1141343"/>
              <a:gd name="connsiteX32" fmla="*/ 1112774 w 1147639"/>
              <a:gd name="connsiteY32" fmla="*/ 772840 h 1141343"/>
              <a:gd name="connsiteX33" fmla="*/ 1093889 w 1147639"/>
              <a:gd name="connsiteY33" fmla="*/ 818359 h 1141343"/>
              <a:gd name="connsiteX34" fmla="*/ 1000431 w 1147639"/>
              <a:gd name="connsiteY34" fmla="*/ 778167 h 1141343"/>
              <a:gd name="connsiteX35" fmla="*/ 994620 w 1147639"/>
              <a:gd name="connsiteY35" fmla="*/ 810127 h 1141343"/>
              <a:gd name="connsiteX36" fmla="*/ 1077909 w 1147639"/>
              <a:gd name="connsiteY36" fmla="*/ 849834 h 1141343"/>
              <a:gd name="connsiteX37" fmla="*/ 1052729 w 1147639"/>
              <a:gd name="connsiteY37" fmla="*/ 891962 h 1141343"/>
              <a:gd name="connsiteX38" fmla="*/ 983967 w 1147639"/>
              <a:gd name="connsiteY38" fmla="*/ 850802 h 1141343"/>
              <a:gd name="connsiteX39" fmla="*/ 993168 w 1147639"/>
              <a:gd name="connsiteY39" fmla="*/ 817390 h 1141343"/>
              <a:gd name="connsiteX40" fmla="*/ 897773 w 1147639"/>
              <a:gd name="connsiteY40" fmla="*/ 778651 h 1141343"/>
              <a:gd name="connsiteX41" fmla="*/ 822717 w 1147639"/>
              <a:gd name="connsiteY41" fmla="*/ 628538 h 1141343"/>
              <a:gd name="connsiteX42" fmla="*/ 844507 w 1147639"/>
              <a:gd name="connsiteY42" fmla="*/ 502637 h 1141343"/>
              <a:gd name="connsiteX43" fmla="*/ 791726 w 1147639"/>
              <a:gd name="connsiteY43" fmla="*/ 380125 h 1141343"/>
              <a:gd name="connsiteX44" fmla="*/ 771872 w 1147639"/>
              <a:gd name="connsiteY44" fmla="*/ 364145 h 1141343"/>
              <a:gd name="connsiteX45" fmla="*/ 823685 w 1147639"/>
              <a:gd name="connsiteY45" fmla="*/ 492952 h 1141343"/>
              <a:gd name="connsiteX46" fmla="*/ 798021 w 1147639"/>
              <a:gd name="connsiteY46" fmla="*/ 628054 h 1141343"/>
              <a:gd name="connsiteX47" fmla="*/ 872593 w 1147639"/>
              <a:gd name="connsiteY47" fmla="*/ 775262 h 1141343"/>
              <a:gd name="connsiteX48" fmla="*/ 844507 w 1147639"/>
              <a:gd name="connsiteY48" fmla="*/ 855645 h 1141343"/>
              <a:gd name="connsiteX49" fmla="*/ 949587 w 1147639"/>
              <a:gd name="connsiteY49" fmla="*/ 906974 h 1141343"/>
              <a:gd name="connsiteX50" fmla="*/ 967019 w 1147639"/>
              <a:gd name="connsiteY50" fmla="*/ 897289 h 1141343"/>
              <a:gd name="connsiteX51" fmla="*/ 974767 w 1147639"/>
              <a:gd name="connsiteY51" fmla="*/ 878404 h 1141343"/>
              <a:gd name="connsiteX52" fmla="*/ 1035296 w 1147639"/>
              <a:gd name="connsiteY52" fmla="*/ 918111 h 1141343"/>
              <a:gd name="connsiteX53" fmla="*/ 1006242 w 1147639"/>
              <a:gd name="connsiteY53" fmla="*/ 953945 h 1141343"/>
              <a:gd name="connsiteX54" fmla="*/ 957819 w 1147639"/>
              <a:gd name="connsiteY54" fmla="*/ 914721 h 1141343"/>
              <a:gd name="connsiteX55" fmla="*/ 945228 w 1147639"/>
              <a:gd name="connsiteY55" fmla="*/ 937481 h 1141343"/>
              <a:gd name="connsiteX56" fmla="*/ 987357 w 1147639"/>
              <a:gd name="connsiteY56" fmla="*/ 974283 h 1141343"/>
              <a:gd name="connsiteX57" fmla="*/ 953460 w 1147639"/>
              <a:gd name="connsiteY57" fmla="*/ 1006726 h 1141343"/>
              <a:gd name="connsiteX58" fmla="*/ 921985 w 1147639"/>
              <a:gd name="connsiteY58" fmla="*/ 972830 h 1141343"/>
              <a:gd name="connsiteX59" fmla="*/ 907458 w 1147639"/>
              <a:gd name="connsiteY59" fmla="*/ 991715 h 1141343"/>
              <a:gd name="connsiteX60" fmla="*/ 934091 w 1147639"/>
              <a:gd name="connsiteY60" fmla="*/ 1023190 h 1141343"/>
              <a:gd name="connsiteX61" fmla="*/ 891962 w 1147639"/>
              <a:gd name="connsiteY61" fmla="*/ 1054181 h 1141343"/>
              <a:gd name="connsiteX62" fmla="*/ 826591 w 1147639"/>
              <a:gd name="connsiteY62" fmla="*/ 888089 h 1141343"/>
              <a:gd name="connsiteX63" fmla="*/ 811095 w 1147639"/>
              <a:gd name="connsiteY63" fmla="*/ 933122 h 1141343"/>
              <a:gd name="connsiteX64" fmla="*/ 867266 w 1147639"/>
              <a:gd name="connsiteY64" fmla="*/ 1069677 h 1141343"/>
              <a:gd name="connsiteX65" fmla="*/ 833854 w 1147639"/>
              <a:gd name="connsiteY65" fmla="*/ 1088078 h 1141343"/>
              <a:gd name="connsiteX66" fmla="*/ 776714 w 1147639"/>
              <a:gd name="connsiteY66" fmla="*/ 932154 h 1141343"/>
              <a:gd name="connsiteX67" fmla="*/ 841118 w 1147639"/>
              <a:gd name="connsiteY67" fmla="*/ 775746 h 1141343"/>
              <a:gd name="connsiteX68" fmla="*/ 767030 w 1147639"/>
              <a:gd name="connsiteY68" fmla="*/ 626601 h 1141343"/>
              <a:gd name="connsiteX69" fmla="*/ 798505 w 1147639"/>
              <a:gd name="connsiteY69" fmla="*/ 481330 h 1141343"/>
              <a:gd name="connsiteX70" fmla="*/ 740881 w 1147639"/>
              <a:gd name="connsiteY70" fmla="*/ 354461 h 1141343"/>
              <a:gd name="connsiteX71" fmla="*/ 721027 w 1147639"/>
              <a:gd name="connsiteY71" fmla="*/ 340902 h 1141343"/>
              <a:gd name="connsiteX72" fmla="*/ 773325 w 1147639"/>
              <a:gd name="connsiteY72" fmla="*/ 471161 h 1141343"/>
              <a:gd name="connsiteX73" fmla="*/ 737007 w 1147639"/>
              <a:gd name="connsiteY73" fmla="*/ 626601 h 1141343"/>
              <a:gd name="connsiteX74" fmla="*/ 809642 w 1147639"/>
              <a:gd name="connsiteY74" fmla="*/ 775746 h 1141343"/>
              <a:gd name="connsiteX75" fmla="*/ 741849 w 1147639"/>
              <a:gd name="connsiteY75" fmla="*/ 936512 h 1141343"/>
              <a:gd name="connsiteX76" fmla="*/ 802379 w 1147639"/>
              <a:gd name="connsiteY76" fmla="*/ 1103089 h 1141343"/>
              <a:gd name="connsiteX77" fmla="*/ 762672 w 1147639"/>
              <a:gd name="connsiteY77" fmla="*/ 1118585 h 1141343"/>
              <a:gd name="connsiteX78" fmla="*/ 703111 w 1147639"/>
              <a:gd name="connsiteY78" fmla="*/ 939902 h 1141343"/>
              <a:gd name="connsiteX79" fmla="*/ 773325 w 1147639"/>
              <a:gd name="connsiteY79" fmla="*/ 775746 h 1141343"/>
              <a:gd name="connsiteX80" fmla="*/ 702142 w 1147639"/>
              <a:gd name="connsiteY80" fmla="*/ 625633 h 1141343"/>
              <a:gd name="connsiteX81" fmla="*/ 746207 w 1147639"/>
              <a:gd name="connsiteY81" fmla="*/ 460993 h 1141343"/>
              <a:gd name="connsiteX82" fmla="*/ 681320 w 1147639"/>
              <a:gd name="connsiteY82" fmla="*/ 330249 h 1141343"/>
              <a:gd name="connsiteX83" fmla="*/ 678899 w 1147639"/>
              <a:gd name="connsiteY83" fmla="*/ 328312 h 1141343"/>
              <a:gd name="connsiteX84" fmla="*/ 675025 w 1147639"/>
              <a:gd name="connsiteY84" fmla="*/ 332186 h 1141343"/>
              <a:gd name="connsiteX85" fmla="*/ 716669 w 1147639"/>
              <a:gd name="connsiteY85" fmla="*/ 451308 h 1141343"/>
              <a:gd name="connsiteX86" fmla="*/ 666309 w 1147639"/>
              <a:gd name="connsiteY86" fmla="*/ 625149 h 1141343"/>
              <a:gd name="connsiteX87" fmla="*/ 734102 w 1147639"/>
              <a:gd name="connsiteY87" fmla="*/ 775746 h 1141343"/>
              <a:gd name="connsiteX88" fmla="*/ 661466 w 1147639"/>
              <a:gd name="connsiteY88" fmla="*/ 943776 h 1141343"/>
              <a:gd name="connsiteX89" fmla="*/ 718122 w 1147639"/>
              <a:gd name="connsiteY89" fmla="*/ 1132143 h 1141343"/>
              <a:gd name="connsiteX90" fmla="*/ 676478 w 1147639"/>
              <a:gd name="connsiteY90" fmla="*/ 1141344 h 1141343"/>
              <a:gd name="connsiteX91" fmla="*/ 622243 w 1147639"/>
              <a:gd name="connsiteY91" fmla="*/ 944260 h 1141343"/>
              <a:gd name="connsiteX92" fmla="*/ 697300 w 1147639"/>
              <a:gd name="connsiteY92" fmla="*/ 775746 h 1141343"/>
              <a:gd name="connsiteX93" fmla="*/ 636286 w 1147639"/>
              <a:gd name="connsiteY93" fmla="*/ 648392 h 1141343"/>
              <a:gd name="connsiteX94" fmla="*/ 620790 w 1147639"/>
              <a:gd name="connsiteY94" fmla="*/ 636770 h 1141343"/>
              <a:gd name="connsiteX95" fmla="*/ 573820 w 1147639"/>
              <a:gd name="connsiteY95" fmla="*/ 645971 h 1141343"/>
              <a:gd name="connsiteX96" fmla="*/ 526849 w 1147639"/>
              <a:gd name="connsiteY96" fmla="*/ 636770 h 1141343"/>
              <a:gd name="connsiteX97" fmla="*/ 511353 w 1147639"/>
              <a:gd name="connsiteY97" fmla="*/ 648392 h 1141343"/>
              <a:gd name="connsiteX98" fmla="*/ 450339 w 1147639"/>
              <a:gd name="connsiteY98" fmla="*/ 775746 h 1141343"/>
              <a:gd name="connsiteX99" fmla="*/ 525396 w 1147639"/>
              <a:gd name="connsiteY99" fmla="*/ 944260 h 1141343"/>
              <a:gd name="connsiteX100" fmla="*/ 471162 w 1147639"/>
              <a:gd name="connsiteY100" fmla="*/ 1141344 h 1141343"/>
              <a:gd name="connsiteX101" fmla="*/ 429517 w 1147639"/>
              <a:gd name="connsiteY101" fmla="*/ 1132143 h 1141343"/>
              <a:gd name="connsiteX102" fmla="*/ 486173 w 1147639"/>
              <a:gd name="connsiteY102" fmla="*/ 943776 h 1141343"/>
              <a:gd name="connsiteX103" fmla="*/ 413537 w 1147639"/>
              <a:gd name="connsiteY103" fmla="*/ 775746 h 1141343"/>
              <a:gd name="connsiteX104" fmla="*/ 481330 w 1147639"/>
              <a:gd name="connsiteY104" fmla="*/ 625149 h 1141343"/>
              <a:gd name="connsiteX105" fmla="*/ 430970 w 1147639"/>
              <a:gd name="connsiteY105" fmla="*/ 451308 h 1141343"/>
              <a:gd name="connsiteX106" fmla="*/ 472614 w 1147639"/>
              <a:gd name="connsiteY106" fmla="*/ 332186 h 1141343"/>
              <a:gd name="connsiteX107" fmla="*/ 468740 w 1147639"/>
              <a:gd name="connsiteY107" fmla="*/ 328312 h 1141343"/>
              <a:gd name="connsiteX108" fmla="*/ 466319 w 1147639"/>
              <a:gd name="connsiteY108" fmla="*/ 330249 h 1141343"/>
              <a:gd name="connsiteX109" fmla="*/ 401432 w 1147639"/>
              <a:gd name="connsiteY109" fmla="*/ 460993 h 1141343"/>
              <a:gd name="connsiteX110" fmla="*/ 445497 w 1147639"/>
              <a:gd name="connsiteY110" fmla="*/ 625633 h 1141343"/>
              <a:gd name="connsiteX111" fmla="*/ 374314 w 1147639"/>
              <a:gd name="connsiteY111" fmla="*/ 775746 h 1141343"/>
              <a:gd name="connsiteX112" fmla="*/ 444529 w 1147639"/>
              <a:gd name="connsiteY112" fmla="*/ 939902 h 1141343"/>
              <a:gd name="connsiteX113" fmla="*/ 384968 w 1147639"/>
              <a:gd name="connsiteY113" fmla="*/ 1118585 h 1141343"/>
              <a:gd name="connsiteX114" fmla="*/ 345260 w 1147639"/>
              <a:gd name="connsiteY114" fmla="*/ 1103089 h 1141343"/>
              <a:gd name="connsiteX115" fmla="*/ 405790 w 1147639"/>
              <a:gd name="connsiteY115" fmla="*/ 936512 h 1141343"/>
              <a:gd name="connsiteX116" fmla="*/ 337997 w 1147639"/>
              <a:gd name="connsiteY116" fmla="*/ 775746 h 1141343"/>
              <a:gd name="connsiteX117" fmla="*/ 410632 w 1147639"/>
              <a:gd name="connsiteY117" fmla="*/ 626601 h 1141343"/>
              <a:gd name="connsiteX118" fmla="*/ 374314 w 1147639"/>
              <a:gd name="connsiteY118" fmla="*/ 471161 h 1141343"/>
              <a:gd name="connsiteX119" fmla="*/ 426612 w 1147639"/>
              <a:gd name="connsiteY119" fmla="*/ 340902 h 1141343"/>
              <a:gd name="connsiteX120" fmla="*/ 406758 w 1147639"/>
              <a:gd name="connsiteY120" fmla="*/ 354461 h 1141343"/>
              <a:gd name="connsiteX121" fmla="*/ 349134 w 1147639"/>
              <a:gd name="connsiteY121" fmla="*/ 481330 h 1141343"/>
              <a:gd name="connsiteX122" fmla="*/ 380609 w 1147639"/>
              <a:gd name="connsiteY122" fmla="*/ 626601 h 1141343"/>
              <a:gd name="connsiteX123" fmla="*/ 306521 w 1147639"/>
              <a:gd name="connsiteY123" fmla="*/ 775746 h 1141343"/>
              <a:gd name="connsiteX124" fmla="*/ 370925 w 1147639"/>
              <a:gd name="connsiteY124" fmla="*/ 932154 h 1141343"/>
              <a:gd name="connsiteX125" fmla="*/ 313785 w 1147639"/>
              <a:gd name="connsiteY125" fmla="*/ 1088078 h 1141343"/>
              <a:gd name="connsiteX126" fmla="*/ 280373 w 1147639"/>
              <a:gd name="connsiteY126" fmla="*/ 1069677 h 1141343"/>
              <a:gd name="connsiteX127" fmla="*/ 337028 w 1147639"/>
              <a:gd name="connsiteY127" fmla="*/ 933122 h 1141343"/>
              <a:gd name="connsiteX128" fmla="*/ 321533 w 1147639"/>
              <a:gd name="connsiteY128" fmla="*/ 888089 h 1141343"/>
              <a:gd name="connsiteX129" fmla="*/ 256161 w 1147639"/>
              <a:gd name="connsiteY129" fmla="*/ 1054181 h 1141343"/>
              <a:gd name="connsiteX130" fmla="*/ 214032 w 1147639"/>
              <a:gd name="connsiteY130" fmla="*/ 1023190 h 1141343"/>
              <a:gd name="connsiteX131" fmla="*/ 240665 w 1147639"/>
              <a:gd name="connsiteY131" fmla="*/ 991715 h 1141343"/>
              <a:gd name="connsiteX132" fmla="*/ 226138 w 1147639"/>
              <a:gd name="connsiteY132" fmla="*/ 972830 h 1141343"/>
              <a:gd name="connsiteX133" fmla="*/ 194663 w 1147639"/>
              <a:gd name="connsiteY133" fmla="*/ 1006726 h 1141343"/>
              <a:gd name="connsiteX134" fmla="*/ 160766 w 1147639"/>
              <a:gd name="connsiteY134" fmla="*/ 974283 h 1141343"/>
              <a:gd name="connsiteX135" fmla="*/ 202895 w 1147639"/>
              <a:gd name="connsiteY135" fmla="*/ 937481 h 1141343"/>
              <a:gd name="connsiteX136" fmla="*/ 190305 w 1147639"/>
              <a:gd name="connsiteY136" fmla="*/ 914721 h 1141343"/>
              <a:gd name="connsiteX137" fmla="*/ 141881 w 1147639"/>
              <a:gd name="connsiteY137" fmla="*/ 953945 h 1141343"/>
              <a:gd name="connsiteX138" fmla="*/ 112827 w 1147639"/>
              <a:gd name="connsiteY138" fmla="*/ 918111 h 1141343"/>
              <a:gd name="connsiteX139" fmla="*/ 173841 w 1147639"/>
              <a:gd name="connsiteY139" fmla="*/ 878404 h 1141343"/>
              <a:gd name="connsiteX140" fmla="*/ 181588 w 1147639"/>
              <a:gd name="connsiteY140" fmla="*/ 897289 h 1141343"/>
              <a:gd name="connsiteX141" fmla="*/ 199021 w 1147639"/>
              <a:gd name="connsiteY141" fmla="*/ 906974 h 1141343"/>
              <a:gd name="connsiteX142" fmla="*/ 304100 w 1147639"/>
              <a:gd name="connsiteY142" fmla="*/ 855645 h 1141343"/>
              <a:gd name="connsiteX143" fmla="*/ 276014 w 1147639"/>
              <a:gd name="connsiteY143" fmla="*/ 775262 h 1141343"/>
              <a:gd name="connsiteX144" fmla="*/ 350587 w 1147639"/>
              <a:gd name="connsiteY144" fmla="*/ 628054 h 1141343"/>
              <a:gd name="connsiteX145" fmla="*/ 324922 w 1147639"/>
              <a:gd name="connsiteY145" fmla="*/ 492952 h 1141343"/>
              <a:gd name="connsiteX146" fmla="*/ 376736 w 1147639"/>
              <a:gd name="connsiteY146" fmla="*/ 364145 h 1141343"/>
              <a:gd name="connsiteX147" fmla="*/ 356882 w 1147639"/>
              <a:gd name="connsiteY147" fmla="*/ 380125 h 1141343"/>
              <a:gd name="connsiteX148" fmla="*/ 304100 w 1147639"/>
              <a:gd name="connsiteY148" fmla="*/ 502637 h 1141343"/>
              <a:gd name="connsiteX149" fmla="*/ 325891 w 1147639"/>
              <a:gd name="connsiteY149" fmla="*/ 628538 h 1141343"/>
              <a:gd name="connsiteX150" fmla="*/ 250834 w 1147639"/>
              <a:gd name="connsiteY150" fmla="*/ 778651 h 1141343"/>
              <a:gd name="connsiteX151" fmla="*/ 154955 w 1147639"/>
              <a:gd name="connsiteY151" fmla="*/ 817390 h 1141343"/>
              <a:gd name="connsiteX152" fmla="*/ 164156 w 1147639"/>
              <a:gd name="connsiteY152" fmla="*/ 850802 h 1141343"/>
              <a:gd name="connsiteX153" fmla="*/ 95394 w 1147639"/>
              <a:gd name="connsiteY153" fmla="*/ 891962 h 1141343"/>
              <a:gd name="connsiteX154" fmla="*/ 70214 w 1147639"/>
              <a:gd name="connsiteY154" fmla="*/ 849834 h 1141343"/>
              <a:gd name="connsiteX155" fmla="*/ 153503 w 1147639"/>
              <a:gd name="connsiteY155" fmla="*/ 810127 h 1141343"/>
              <a:gd name="connsiteX156" fmla="*/ 147692 w 1147639"/>
              <a:gd name="connsiteY156" fmla="*/ 778167 h 1141343"/>
              <a:gd name="connsiteX157" fmla="*/ 54234 w 1147639"/>
              <a:gd name="connsiteY157" fmla="*/ 818359 h 1141343"/>
              <a:gd name="connsiteX158" fmla="*/ 35349 w 1147639"/>
              <a:gd name="connsiteY158" fmla="*/ 772840 h 1141343"/>
              <a:gd name="connsiteX159" fmla="*/ 143818 w 1147639"/>
              <a:gd name="connsiteY159" fmla="*/ 731196 h 1141343"/>
              <a:gd name="connsiteX160" fmla="*/ 143818 w 1147639"/>
              <a:gd name="connsiteY160" fmla="*/ 717638 h 1141343"/>
              <a:gd name="connsiteX161" fmla="*/ 144302 w 1147639"/>
              <a:gd name="connsiteY161" fmla="*/ 693426 h 1141343"/>
              <a:gd name="connsiteX162" fmla="*/ 22759 w 1147639"/>
              <a:gd name="connsiteY162" fmla="*/ 735554 h 1141343"/>
              <a:gd name="connsiteX163" fmla="*/ 11137 w 1147639"/>
              <a:gd name="connsiteY163" fmla="*/ 689068 h 1141343"/>
              <a:gd name="connsiteX164" fmla="*/ 149629 w 1147639"/>
              <a:gd name="connsiteY164" fmla="*/ 645486 h 1141343"/>
              <a:gd name="connsiteX165" fmla="*/ 159314 w 1147639"/>
              <a:gd name="connsiteY165" fmla="*/ 602389 h 1141343"/>
              <a:gd name="connsiteX166" fmla="*/ 4358 w 1147639"/>
              <a:gd name="connsiteY166" fmla="*/ 646939 h 1141343"/>
              <a:gd name="connsiteX167" fmla="*/ 484 w 1147639"/>
              <a:gd name="connsiteY167" fmla="*/ 606263 h 1141343"/>
              <a:gd name="connsiteX168" fmla="*/ 173356 w 1147639"/>
              <a:gd name="connsiteY168" fmla="*/ 560261 h 1141343"/>
              <a:gd name="connsiteX169" fmla="*/ 196116 w 1147639"/>
              <a:gd name="connsiteY169" fmla="*/ 512322 h 1141343"/>
              <a:gd name="connsiteX170" fmla="*/ 0 w 1147639"/>
              <a:gd name="connsiteY170" fmla="*/ 558324 h 1141343"/>
              <a:gd name="connsiteX171" fmla="*/ 572851 w 1147639"/>
              <a:gd name="connsiteY171" fmla="*/ 0 h 1141343"/>
              <a:gd name="connsiteX172" fmla="*/ 1147639 w 1147639"/>
              <a:gd name="connsiteY172" fmla="*/ 558808 h 1141343"/>
              <a:gd name="connsiteX173" fmla="*/ 951524 w 1147639"/>
              <a:gd name="connsiteY173" fmla="*/ 512806 h 1141343"/>
              <a:gd name="connsiteX174" fmla="*/ 974283 w 1147639"/>
              <a:gd name="connsiteY174" fmla="*/ 560745 h 1141343"/>
              <a:gd name="connsiteX175" fmla="*/ 1147155 w 1147639"/>
              <a:gd name="connsiteY175" fmla="*/ 606263 h 1141343"/>
              <a:gd name="connsiteX176" fmla="*/ 325891 w 1147639"/>
              <a:gd name="connsiteY176" fmla="*/ 365114 h 1141343"/>
              <a:gd name="connsiteX177" fmla="*/ 188368 w 1147639"/>
              <a:gd name="connsiteY177" fmla="*/ 380125 h 1141343"/>
              <a:gd name="connsiteX178" fmla="*/ 127838 w 1147639"/>
              <a:gd name="connsiteY178" fmla="*/ 281341 h 1141343"/>
              <a:gd name="connsiteX179" fmla="*/ 119122 w 1147639"/>
              <a:gd name="connsiteY179" fmla="*/ 286183 h 1141343"/>
              <a:gd name="connsiteX180" fmla="*/ 13559 w 1147639"/>
              <a:gd name="connsiteY180" fmla="*/ 512806 h 1141343"/>
              <a:gd name="connsiteX181" fmla="*/ 214032 w 1147639"/>
              <a:gd name="connsiteY181" fmla="*/ 478425 h 1141343"/>
              <a:gd name="connsiteX182" fmla="*/ 325891 w 1147639"/>
              <a:gd name="connsiteY182" fmla="*/ 365114 h 1141343"/>
              <a:gd name="connsiteX183" fmla="*/ 572851 w 1147639"/>
              <a:gd name="connsiteY183" fmla="*/ 313301 h 1141343"/>
              <a:gd name="connsiteX184" fmla="*/ 462930 w 1147639"/>
              <a:gd name="connsiteY184" fmla="*/ 382546 h 1141343"/>
              <a:gd name="connsiteX185" fmla="*/ 466803 w 1147639"/>
              <a:gd name="connsiteY185" fmla="*/ 385936 h 1141343"/>
              <a:gd name="connsiteX186" fmla="*/ 499247 w 1147639"/>
              <a:gd name="connsiteY186" fmla="*/ 379641 h 1141343"/>
              <a:gd name="connsiteX187" fmla="*/ 551545 w 1147639"/>
              <a:gd name="connsiteY187" fmla="*/ 401432 h 1141343"/>
              <a:gd name="connsiteX188" fmla="*/ 551060 w 1147639"/>
              <a:gd name="connsiteY188" fmla="*/ 455666 h 1141343"/>
              <a:gd name="connsiteX189" fmla="*/ 530238 w 1147639"/>
              <a:gd name="connsiteY189" fmla="*/ 446950 h 1141343"/>
              <a:gd name="connsiteX190" fmla="*/ 499731 w 1147639"/>
              <a:gd name="connsiteY190" fmla="*/ 453245 h 1141343"/>
              <a:gd name="connsiteX191" fmla="*/ 473583 w 1147639"/>
              <a:gd name="connsiteY191" fmla="*/ 445981 h 1141343"/>
              <a:gd name="connsiteX192" fmla="*/ 460024 w 1147639"/>
              <a:gd name="connsiteY192" fmla="*/ 471161 h 1141343"/>
              <a:gd name="connsiteX193" fmla="*/ 572851 w 1147639"/>
              <a:gd name="connsiteY193" fmla="*/ 612558 h 1141343"/>
              <a:gd name="connsiteX194" fmla="*/ 685678 w 1147639"/>
              <a:gd name="connsiteY194" fmla="*/ 471161 h 1141343"/>
              <a:gd name="connsiteX195" fmla="*/ 671151 w 1147639"/>
              <a:gd name="connsiteY195" fmla="*/ 445013 h 1141343"/>
              <a:gd name="connsiteX196" fmla="*/ 645971 w 1147639"/>
              <a:gd name="connsiteY196" fmla="*/ 453245 h 1141343"/>
              <a:gd name="connsiteX197" fmla="*/ 618369 w 1147639"/>
              <a:gd name="connsiteY197" fmla="*/ 446950 h 1141343"/>
              <a:gd name="connsiteX198" fmla="*/ 596094 w 1147639"/>
              <a:gd name="connsiteY198" fmla="*/ 470677 h 1141343"/>
              <a:gd name="connsiteX199" fmla="*/ 594157 w 1147639"/>
              <a:gd name="connsiteY199" fmla="*/ 401916 h 1141343"/>
              <a:gd name="connsiteX200" fmla="*/ 646455 w 1147639"/>
              <a:gd name="connsiteY200" fmla="*/ 380125 h 1141343"/>
              <a:gd name="connsiteX201" fmla="*/ 678899 w 1147639"/>
              <a:gd name="connsiteY201" fmla="*/ 386420 h 1141343"/>
              <a:gd name="connsiteX202" fmla="*/ 682773 w 1147639"/>
              <a:gd name="connsiteY202" fmla="*/ 383031 h 1141343"/>
              <a:gd name="connsiteX203" fmla="*/ 572851 w 1147639"/>
              <a:gd name="connsiteY203" fmla="*/ 313301 h 1141343"/>
              <a:gd name="connsiteX204" fmla="*/ 658077 w 1147639"/>
              <a:gd name="connsiteY204" fmla="*/ 398526 h 1141343"/>
              <a:gd name="connsiteX205" fmla="*/ 620790 w 1147639"/>
              <a:gd name="connsiteY205" fmla="*/ 413053 h 1141343"/>
              <a:gd name="connsiteX206" fmla="*/ 621275 w 1147639"/>
              <a:gd name="connsiteY206" fmla="*/ 422738 h 1141343"/>
              <a:gd name="connsiteX207" fmla="*/ 675025 w 1147639"/>
              <a:gd name="connsiteY207" fmla="*/ 425643 h 1141343"/>
              <a:gd name="connsiteX208" fmla="*/ 681804 w 1147639"/>
              <a:gd name="connsiteY208" fmla="*/ 411600 h 1141343"/>
              <a:gd name="connsiteX209" fmla="*/ 658077 w 1147639"/>
              <a:gd name="connsiteY209" fmla="*/ 398526 h 1141343"/>
              <a:gd name="connsiteX210" fmla="*/ 471162 w 1147639"/>
              <a:gd name="connsiteY210" fmla="*/ 425643 h 1141343"/>
              <a:gd name="connsiteX211" fmla="*/ 530238 w 1147639"/>
              <a:gd name="connsiteY211" fmla="*/ 423706 h 1141343"/>
              <a:gd name="connsiteX212" fmla="*/ 487626 w 1147639"/>
              <a:gd name="connsiteY212" fmla="*/ 398042 h 1141343"/>
              <a:gd name="connsiteX213" fmla="*/ 463898 w 1147639"/>
              <a:gd name="connsiteY213" fmla="*/ 411116 h 1141343"/>
              <a:gd name="connsiteX214" fmla="*/ 471162 w 1147639"/>
              <a:gd name="connsiteY214" fmla="*/ 425643 h 1141343"/>
              <a:gd name="connsiteX215" fmla="*/ 839181 w 1147639"/>
              <a:gd name="connsiteY215" fmla="*/ 224201 h 1141343"/>
              <a:gd name="connsiteX216" fmla="*/ 730712 w 1147639"/>
              <a:gd name="connsiteY216" fmla="*/ 265845 h 1141343"/>
              <a:gd name="connsiteX217" fmla="*/ 779620 w 1147639"/>
              <a:gd name="connsiteY217" fmla="*/ 168998 h 1141343"/>
              <a:gd name="connsiteX218" fmla="*/ 648392 w 1147639"/>
              <a:gd name="connsiteY218" fmla="*/ 228075 h 1141343"/>
              <a:gd name="connsiteX219" fmla="*/ 622727 w 1147639"/>
              <a:gd name="connsiteY219" fmla="*/ 160766 h 1141343"/>
              <a:gd name="connsiteX220" fmla="*/ 679383 w 1147639"/>
              <a:gd name="connsiteY220" fmla="*/ 110406 h 1141343"/>
              <a:gd name="connsiteX221" fmla="*/ 603358 w 1147639"/>
              <a:gd name="connsiteY221" fmla="*/ 105079 h 1141343"/>
              <a:gd name="connsiteX222" fmla="*/ 572851 w 1147639"/>
              <a:gd name="connsiteY222" fmla="*/ 34381 h 1141343"/>
              <a:gd name="connsiteX223" fmla="*/ 542344 w 1147639"/>
              <a:gd name="connsiteY223" fmla="*/ 105079 h 1141343"/>
              <a:gd name="connsiteX224" fmla="*/ 466319 w 1147639"/>
              <a:gd name="connsiteY224" fmla="*/ 110406 h 1141343"/>
              <a:gd name="connsiteX225" fmla="*/ 522975 w 1147639"/>
              <a:gd name="connsiteY225" fmla="*/ 160766 h 1141343"/>
              <a:gd name="connsiteX226" fmla="*/ 497310 w 1147639"/>
              <a:gd name="connsiteY226" fmla="*/ 228075 h 1141343"/>
              <a:gd name="connsiteX227" fmla="*/ 366082 w 1147639"/>
              <a:gd name="connsiteY227" fmla="*/ 168998 h 1141343"/>
              <a:gd name="connsiteX228" fmla="*/ 414990 w 1147639"/>
              <a:gd name="connsiteY228" fmla="*/ 265845 h 1141343"/>
              <a:gd name="connsiteX229" fmla="*/ 306521 w 1147639"/>
              <a:gd name="connsiteY229" fmla="*/ 224201 h 1141343"/>
              <a:gd name="connsiteX230" fmla="*/ 370925 w 1147639"/>
              <a:gd name="connsiteY230" fmla="*/ 328796 h 1141343"/>
              <a:gd name="connsiteX231" fmla="*/ 381094 w 1147639"/>
              <a:gd name="connsiteY231" fmla="*/ 332186 h 1141343"/>
              <a:gd name="connsiteX232" fmla="*/ 572851 w 1147639"/>
              <a:gd name="connsiteY232" fmla="*/ 287152 h 1141343"/>
              <a:gd name="connsiteX233" fmla="*/ 764608 w 1147639"/>
              <a:gd name="connsiteY233" fmla="*/ 332186 h 1141343"/>
              <a:gd name="connsiteX234" fmla="*/ 774777 w 1147639"/>
              <a:gd name="connsiteY234" fmla="*/ 328796 h 1141343"/>
              <a:gd name="connsiteX235" fmla="*/ 839181 w 1147639"/>
              <a:gd name="connsiteY235" fmla="*/ 224201 h 1141343"/>
              <a:gd name="connsiteX236" fmla="*/ 931186 w 1147639"/>
              <a:gd name="connsiteY236" fmla="*/ 478425 h 1141343"/>
              <a:gd name="connsiteX237" fmla="*/ 1132144 w 1147639"/>
              <a:gd name="connsiteY237" fmla="*/ 512806 h 1141343"/>
              <a:gd name="connsiteX238" fmla="*/ 1026580 w 1147639"/>
              <a:gd name="connsiteY238" fmla="*/ 286183 h 1141343"/>
              <a:gd name="connsiteX239" fmla="*/ 1018348 w 1147639"/>
              <a:gd name="connsiteY239" fmla="*/ 281341 h 1141343"/>
              <a:gd name="connsiteX240" fmla="*/ 957819 w 1147639"/>
              <a:gd name="connsiteY240" fmla="*/ 380125 h 1141343"/>
              <a:gd name="connsiteX241" fmla="*/ 820296 w 1147639"/>
              <a:gd name="connsiteY241" fmla="*/ 365114 h 1141343"/>
              <a:gd name="connsiteX242" fmla="*/ 931186 w 1147639"/>
              <a:gd name="connsiteY242" fmla="*/ 478425 h 1141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Lst>
            <a:rect l="l" t="t" r="r" b="b"/>
            <a:pathLst>
              <a:path w="1147639" h="1141343">
                <a:moveTo>
                  <a:pt x="630959" y="248413"/>
                </a:moveTo>
                <a:cubicBezTo>
                  <a:pt x="626117" y="247445"/>
                  <a:pt x="601905" y="243571"/>
                  <a:pt x="573335" y="243571"/>
                </a:cubicBezTo>
                <a:cubicBezTo>
                  <a:pt x="544765" y="243571"/>
                  <a:pt x="520554" y="247445"/>
                  <a:pt x="515711" y="248413"/>
                </a:cubicBezTo>
                <a:cubicBezTo>
                  <a:pt x="512806" y="248897"/>
                  <a:pt x="511837" y="245992"/>
                  <a:pt x="513774" y="244539"/>
                </a:cubicBezTo>
                <a:cubicBezTo>
                  <a:pt x="515711" y="243086"/>
                  <a:pt x="573335" y="199021"/>
                  <a:pt x="573335" y="199021"/>
                </a:cubicBezTo>
                <a:cubicBezTo>
                  <a:pt x="573335" y="199021"/>
                  <a:pt x="630959" y="243086"/>
                  <a:pt x="632896" y="244539"/>
                </a:cubicBezTo>
                <a:cubicBezTo>
                  <a:pt x="634833" y="245992"/>
                  <a:pt x="633865" y="248897"/>
                  <a:pt x="630959" y="248413"/>
                </a:cubicBezTo>
                <a:moveTo>
                  <a:pt x="531207" y="533144"/>
                </a:moveTo>
                <a:cubicBezTo>
                  <a:pt x="531207" y="533144"/>
                  <a:pt x="528301" y="534112"/>
                  <a:pt x="527333" y="537018"/>
                </a:cubicBezTo>
                <a:cubicBezTo>
                  <a:pt x="539439" y="546218"/>
                  <a:pt x="547671" y="567524"/>
                  <a:pt x="572851" y="567524"/>
                </a:cubicBezTo>
                <a:cubicBezTo>
                  <a:pt x="598031" y="567524"/>
                  <a:pt x="606263" y="546218"/>
                  <a:pt x="618369" y="537018"/>
                </a:cubicBezTo>
                <a:cubicBezTo>
                  <a:pt x="617401" y="534112"/>
                  <a:pt x="614495" y="533144"/>
                  <a:pt x="614495" y="533144"/>
                </a:cubicBezTo>
                <a:cubicBezTo>
                  <a:pt x="614495" y="533144"/>
                  <a:pt x="598516" y="537018"/>
                  <a:pt x="572851" y="537018"/>
                </a:cubicBezTo>
                <a:cubicBezTo>
                  <a:pt x="547187" y="537018"/>
                  <a:pt x="531207" y="533144"/>
                  <a:pt x="531207" y="533144"/>
                </a:cubicBezTo>
                <a:moveTo>
                  <a:pt x="572851" y="497794"/>
                </a:moveTo>
                <a:cubicBezTo>
                  <a:pt x="566072" y="497794"/>
                  <a:pt x="564135" y="495373"/>
                  <a:pt x="559777" y="495373"/>
                </a:cubicBezTo>
                <a:cubicBezTo>
                  <a:pt x="555419" y="495373"/>
                  <a:pt x="546218" y="499247"/>
                  <a:pt x="544281" y="502153"/>
                </a:cubicBezTo>
                <a:cubicBezTo>
                  <a:pt x="544281" y="503605"/>
                  <a:pt x="545250" y="505058"/>
                  <a:pt x="546218" y="506511"/>
                </a:cubicBezTo>
                <a:cubicBezTo>
                  <a:pt x="556387" y="507963"/>
                  <a:pt x="561229" y="513774"/>
                  <a:pt x="572851" y="513774"/>
                </a:cubicBezTo>
                <a:cubicBezTo>
                  <a:pt x="584473" y="513774"/>
                  <a:pt x="589315" y="507963"/>
                  <a:pt x="599484" y="506511"/>
                </a:cubicBezTo>
                <a:cubicBezTo>
                  <a:pt x="600937" y="505058"/>
                  <a:pt x="601421" y="503605"/>
                  <a:pt x="601421" y="502153"/>
                </a:cubicBezTo>
                <a:cubicBezTo>
                  <a:pt x="599484" y="498763"/>
                  <a:pt x="590768" y="495373"/>
                  <a:pt x="585925" y="495373"/>
                </a:cubicBezTo>
                <a:cubicBezTo>
                  <a:pt x="581567" y="494889"/>
                  <a:pt x="580115" y="497794"/>
                  <a:pt x="572851" y="497794"/>
                </a:cubicBezTo>
                <a:moveTo>
                  <a:pt x="1147155" y="606263"/>
                </a:moveTo>
                <a:cubicBezTo>
                  <a:pt x="1146186" y="619822"/>
                  <a:pt x="1145218" y="633865"/>
                  <a:pt x="1143765" y="646939"/>
                </a:cubicBezTo>
                <a:cubicBezTo>
                  <a:pt x="1078878" y="657592"/>
                  <a:pt x="1055634" y="599968"/>
                  <a:pt x="988810" y="602389"/>
                </a:cubicBezTo>
                <a:cubicBezTo>
                  <a:pt x="992684" y="616432"/>
                  <a:pt x="996073" y="630959"/>
                  <a:pt x="998494" y="645486"/>
                </a:cubicBezTo>
                <a:cubicBezTo>
                  <a:pt x="1053697" y="645486"/>
                  <a:pt x="1075488" y="696815"/>
                  <a:pt x="1136986" y="689068"/>
                </a:cubicBezTo>
                <a:cubicBezTo>
                  <a:pt x="1133596" y="704563"/>
                  <a:pt x="1129722" y="720059"/>
                  <a:pt x="1125364" y="735554"/>
                </a:cubicBezTo>
                <a:cubicBezTo>
                  <a:pt x="1076941" y="740397"/>
                  <a:pt x="1059992" y="692457"/>
                  <a:pt x="1003821" y="693426"/>
                </a:cubicBezTo>
                <a:cubicBezTo>
                  <a:pt x="1004305" y="701658"/>
                  <a:pt x="1004305" y="709406"/>
                  <a:pt x="1004305" y="717638"/>
                </a:cubicBezTo>
                <a:cubicBezTo>
                  <a:pt x="1004305" y="721996"/>
                  <a:pt x="1004305" y="726838"/>
                  <a:pt x="1003821" y="731196"/>
                </a:cubicBezTo>
                <a:cubicBezTo>
                  <a:pt x="1051760" y="730712"/>
                  <a:pt x="1067256" y="774777"/>
                  <a:pt x="1112774" y="772840"/>
                </a:cubicBezTo>
                <a:cubicBezTo>
                  <a:pt x="1106963" y="788336"/>
                  <a:pt x="1100668" y="803347"/>
                  <a:pt x="1093889" y="818359"/>
                </a:cubicBezTo>
                <a:cubicBezTo>
                  <a:pt x="1060961" y="816422"/>
                  <a:pt x="1049823" y="774777"/>
                  <a:pt x="1000431" y="778167"/>
                </a:cubicBezTo>
                <a:cubicBezTo>
                  <a:pt x="998979" y="788820"/>
                  <a:pt x="997042" y="799473"/>
                  <a:pt x="994620" y="810127"/>
                </a:cubicBezTo>
                <a:cubicBezTo>
                  <a:pt x="1037718" y="807221"/>
                  <a:pt x="1046918" y="846928"/>
                  <a:pt x="1077909" y="849834"/>
                </a:cubicBezTo>
                <a:cubicBezTo>
                  <a:pt x="1070161" y="864361"/>
                  <a:pt x="1061445" y="878404"/>
                  <a:pt x="1052729" y="891962"/>
                </a:cubicBezTo>
                <a:cubicBezTo>
                  <a:pt x="1034328" y="882278"/>
                  <a:pt x="1018348" y="852739"/>
                  <a:pt x="983967" y="850802"/>
                </a:cubicBezTo>
                <a:cubicBezTo>
                  <a:pt x="987357" y="839665"/>
                  <a:pt x="990747" y="828528"/>
                  <a:pt x="993168" y="817390"/>
                </a:cubicBezTo>
                <a:cubicBezTo>
                  <a:pt x="962177" y="817390"/>
                  <a:pt x="927312" y="805284"/>
                  <a:pt x="897773" y="778651"/>
                </a:cubicBezTo>
                <a:cubicBezTo>
                  <a:pt x="907458" y="723933"/>
                  <a:pt x="822717" y="668730"/>
                  <a:pt x="822717" y="628538"/>
                </a:cubicBezTo>
                <a:cubicBezTo>
                  <a:pt x="822717" y="585441"/>
                  <a:pt x="844507" y="561229"/>
                  <a:pt x="844507" y="502637"/>
                </a:cubicBezTo>
                <a:cubicBezTo>
                  <a:pt x="844507" y="459056"/>
                  <a:pt x="823201" y="412085"/>
                  <a:pt x="791726" y="380125"/>
                </a:cubicBezTo>
                <a:cubicBezTo>
                  <a:pt x="785431" y="373830"/>
                  <a:pt x="779136" y="368988"/>
                  <a:pt x="771872" y="364145"/>
                </a:cubicBezTo>
                <a:cubicBezTo>
                  <a:pt x="800926" y="400463"/>
                  <a:pt x="823685" y="443076"/>
                  <a:pt x="823685" y="492952"/>
                </a:cubicBezTo>
                <a:cubicBezTo>
                  <a:pt x="823685" y="548155"/>
                  <a:pt x="798021" y="577209"/>
                  <a:pt x="798021" y="628054"/>
                </a:cubicBezTo>
                <a:cubicBezTo>
                  <a:pt x="798021" y="678899"/>
                  <a:pt x="872593" y="722964"/>
                  <a:pt x="872593" y="775262"/>
                </a:cubicBezTo>
                <a:cubicBezTo>
                  <a:pt x="872593" y="796084"/>
                  <a:pt x="865814" y="815937"/>
                  <a:pt x="844507" y="855645"/>
                </a:cubicBezTo>
                <a:cubicBezTo>
                  <a:pt x="877920" y="889057"/>
                  <a:pt x="921501" y="906974"/>
                  <a:pt x="949587" y="906974"/>
                </a:cubicBezTo>
                <a:cubicBezTo>
                  <a:pt x="958787" y="906974"/>
                  <a:pt x="963629" y="904068"/>
                  <a:pt x="967019" y="897289"/>
                </a:cubicBezTo>
                <a:cubicBezTo>
                  <a:pt x="969924" y="890994"/>
                  <a:pt x="972346" y="884699"/>
                  <a:pt x="974767" y="878404"/>
                </a:cubicBezTo>
                <a:cubicBezTo>
                  <a:pt x="1004789" y="879372"/>
                  <a:pt x="1018832" y="906974"/>
                  <a:pt x="1035296" y="918111"/>
                </a:cubicBezTo>
                <a:cubicBezTo>
                  <a:pt x="1026096" y="930217"/>
                  <a:pt x="1016411" y="942323"/>
                  <a:pt x="1006242" y="953945"/>
                </a:cubicBezTo>
                <a:cubicBezTo>
                  <a:pt x="995105" y="941354"/>
                  <a:pt x="980093" y="920532"/>
                  <a:pt x="957819" y="914721"/>
                </a:cubicBezTo>
                <a:cubicBezTo>
                  <a:pt x="953945" y="922469"/>
                  <a:pt x="949587" y="929733"/>
                  <a:pt x="945228" y="937481"/>
                </a:cubicBezTo>
                <a:cubicBezTo>
                  <a:pt x="964114" y="942807"/>
                  <a:pt x="977188" y="961692"/>
                  <a:pt x="987357" y="974283"/>
                </a:cubicBezTo>
                <a:cubicBezTo>
                  <a:pt x="976704" y="985420"/>
                  <a:pt x="965082" y="996073"/>
                  <a:pt x="953460" y="1006726"/>
                </a:cubicBezTo>
                <a:cubicBezTo>
                  <a:pt x="946197" y="995589"/>
                  <a:pt x="934575" y="981062"/>
                  <a:pt x="921985" y="972830"/>
                </a:cubicBezTo>
                <a:cubicBezTo>
                  <a:pt x="917143" y="979125"/>
                  <a:pt x="912300" y="985420"/>
                  <a:pt x="907458" y="991715"/>
                </a:cubicBezTo>
                <a:cubicBezTo>
                  <a:pt x="918595" y="998979"/>
                  <a:pt x="927796" y="1012537"/>
                  <a:pt x="934091" y="1023190"/>
                </a:cubicBezTo>
                <a:cubicBezTo>
                  <a:pt x="920532" y="1034328"/>
                  <a:pt x="906490" y="1044497"/>
                  <a:pt x="891962" y="1054181"/>
                </a:cubicBezTo>
                <a:cubicBezTo>
                  <a:pt x="884699" y="995589"/>
                  <a:pt x="805284" y="955882"/>
                  <a:pt x="826591" y="888089"/>
                </a:cubicBezTo>
                <a:cubicBezTo>
                  <a:pt x="819327" y="900194"/>
                  <a:pt x="811095" y="915206"/>
                  <a:pt x="811095" y="933122"/>
                </a:cubicBezTo>
                <a:cubicBezTo>
                  <a:pt x="811095" y="982030"/>
                  <a:pt x="863393" y="1021253"/>
                  <a:pt x="867266" y="1069677"/>
                </a:cubicBezTo>
                <a:cubicBezTo>
                  <a:pt x="856613" y="1075972"/>
                  <a:pt x="845476" y="1082267"/>
                  <a:pt x="833854" y="1088078"/>
                </a:cubicBezTo>
                <a:cubicBezTo>
                  <a:pt x="831917" y="1034328"/>
                  <a:pt x="776714" y="975735"/>
                  <a:pt x="776714" y="932154"/>
                </a:cubicBezTo>
                <a:cubicBezTo>
                  <a:pt x="776714" y="883246"/>
                  <a:pt x="841118" y="833854"/>
                  <a:pt x="841118" y="775746"/>
                </a:cubicBezTo>
                <a:cubicBezTo>
                  <a:pt x="841118" y="717638"/>
                  <a:pt x="767030" y="677446"/>
                  <a:pt x="767030" y="626601"/>
                </a:cubicBezTo>
                <a:cubicBezTo>
                  <a:pt x="767030" y="575756"/>
                  <a:pt x="798505" y="546702"/>
                  <a:pt x="798505" y="481330"/>
                </a:cubicBezTo>
                <a:cubicBezTo>
                  <a:pt x="798505" y="433391"/>
                  <a:pt x="775746" y="385452"/>
                  <a:pt x="740881" y="354461"/>
                </a:cubicBezTo>
                <a:cubicBezTo>
                  <a:pt x="734586" y="349134"/>
                  <a:pt x="728775" y="344776"/>
                  <a:pt x="721027" y="340902"/>
                </a:cubicBezTo>
                <a:cubicBezTo>
                  <a:pt x="753955" y="380609"/>
                  <a:pt x="773325" y="416443"/>
                  <a:pt x="773325" y="471161"/>
                </a:cubicBezTo>
                <a:cubicBezTo>
                  <a:pt x="773325" y="532659"/>
                  <a:pt x="737007" y="566556"/>
                  <a:pt x="737007" y="626601"/>
                </a:cubicBezTo>
                <a:cubicBezTo>
                  <a:pt x="737007" y="686646"/>
                  <a:pt x="809642" y="720059"/>
                  <a:pt x="809642" y="775746"/>
                </a:cubicBezTo>
                <a:cubicBezTo>
                  <a:pt x="809642" y="831433"/>
                  <a:pt x="741849" y="878888"/>
                  <a:pt x="741849" y="936512"/>
                </a:cubicBezTo>
                <a:cubicBezTo>
                  <a:pt x="741849" y="988810"/>
                  <a:pt x="801410" y="1041107"/>
                  <a:pt x="802379" y="1103089"/>
                </a:cubicBezTo>
                <a:cubicBezTo>
                  <a:pt x="789305" y="1108900"/>
                  <a:pt x="776230" y="1114227"/>
                  <a:pt x="762672" y="1118585"/>
                </a:cubicBezTo>
                <a:cubicBezTo>
                  <a:pt x="770419" y="1056118"/>
                  <a:pt x="703111" y="991231"/>
                  <a:pt x="703111" y="939902"/>
                </a:cubicBezTo>
                <a:cubicBezTo>
                  <a:pt x="703111" y="884215"/>
                  <a:pt x="773325" y="835791"/>
                  <a:pt x="773325" y="775746"/>
                </a:cubicBezTo>
                <a:cubicBezTo>
                  <a:pt x="773325" y="715701"/>
                  <a:pt x="702142" y="687615"/>
                  <a:pt x="702142" y="625633"/>
                </a:cubicBezTo>
                <a:cubicBezTo>
                  <a:pt x="702142" y="563651"/>
                  <a:pt x="746207" y="529270"/>
                  <a:pt x="746207" y="460993"/>
                </a:cubicBezTo>
                <a:cubicBezTo>
                  <a:pt x="746207" y="407727"/>
                  <a:pt x="720059" y="359787"/>
                  <a:pt x="681320" y="330249"/>
                </a:cubicBezTo>
                <a:cubicBezTo>
                  <a:pt x="680351" y="329765"/>
                  <a:pt x="679867" y="328796"/>
                  <a:pt x="678899" y="328312"/>
                </a:cubicBezTo>
                <a:cubicBezTo>
                  <a:pt x="675509" y="325406"/>
                  <a:pt x="672119" y="328796"/>
                  <a:pt x="675025" y="332186"/>
                </a:cubicBezTo>
                <a:cubicBezTo>
                  <a:pt x="702142" y="366082"/>
                  <a:pt x="716669" y="400463"/>
                  <a:pt x="716669" y="451308"/>
                </a:cubicBezTo>
                <a:cubicBezTo>
                  <a:pt x="716669" y="513774"/>
                  <a:pt x="666309" y="564619"/>
                  <a:pt x="666309" y="625149"/>
                </a:cubicBezTo>
                <a:cubicBezTo>
                  <a:pt x="666309" y="696815"/>
                  <a:pt x="734102" y="717153"/>
                  <a:pt x="734102" y="775746"/>
                </a:cubicBezTo>
                <a:cubicBezTo>
                  <a:pt x="734102" y="834338"/>
                  <a:pt x="661466" y="881309"/>
                  <a:pt x="661466" y="943776"/>
                </a:cubicBezTo>
                <a:cubicBezTo>
                  <a:pt x="661466" y="1001400"/>
                  <a:pt x="730228" y="1065803"/>
                  <a:pt x="718122" y="1132143"/>
                </a:cubicBezTo>
                <a:cubicBezTo>
                  <a:pt x="704563" y="1135533"/>
                  <a:pt x="690520" y="1138923"/>
                  <a:pt x="676478" y="1141344"/>
                </a:cubicBezTo>
                <a:cubicBezTo>
                  <a:pt x="689552" y="1058540"/>
                  <a:pt x="622243" y="998494"/>
                  <a:pt x="622243" y="944260"/>
                </a:cubicBezTo>
                <a:cubicBezTo>
                  <a:pt x="622243" y="885667"/>
                  <a:pt x="697300" y="832886"/>
                  <a:pt x="697300" y="775746"/>
                </a:cubicBezTo>
                <a:cubicBezTo>
                  <a:pt x="697300" y="721511"/>
                  <a:pt x="643549" y="704079"/>
                  <a:pt x="636286" y="648392"/>
                </a:cubicBezTo>
                <a:cubicBezTo>
                  <a:pt x="635317" y="640644"/>
                  <a:pt x="629022" y="635317"/>
                  <a:pt x="620790" y="636770"/>
                </a:cubicBezTo>
                <a:cubicBezTo>
                  <a:pt x="609653" y="638707"/>
                  <a:pt x="595610" y="645971"/>
                  <a:pt x="573820" y="645971"/>
                </a:cubicBezTo>
                <a:cubicBezTo>
                  <a:pt x="551545" y="645971"/>
                  <a:pt x="537986" y="638707"/>
                  <a:pt x="526849" y="636770"/>
                </a:cubicBezTo>
                <a:cubicBezTo>
                  <a:pt x="518617" y="635317"/>
                  <a:pt x="512322" y="641128"/>
                  <a:pt x="511353" y="648392"/>
                </a:cubicBezTo>
                <a:cubicBezTo>
                  <a:pt x="504090" y="704079"/>
                  <a:pt x="450339" y="721511"/>
                  <a:pt x="450339" y="775746"/>
                </a:cubicBezTo>
                <a:cubicBezTo>
                  <a:pt x="450339" y="833370"/>
                  <a:pt x="525396" y="885667"/>
                  <a:pt x="525396" y="944260"/>
                </a:cubicBezTo>
                <a:cubicBezTo>
                  <a:pt x="525396" y="998494"/>
                  <a:pt x="458087" y="1058055"/>
                  <a:pt x="471162" y="1141344"/>
                </a:cubicBezTo>
                <a:cubicBezTo>
                  <a:pt x="457119" y="1138923"/>
                  <a:pt x="443076" y="1135533"/>
                  <a:pt x="429517" y="1132143"/>
                </a:cubicBezTo>
                <a:cubicBezTo>
                  <a:pt x="417896" y="1065319"/>
                  <a:pt x="486173" y="1001400"/>
                  <a:pt x="486173" y="943776"/>
                </a:cubicBezTo>
                <a:cubicBezTo>
                  <a:pt x="486173" y="881309"/>
                  <a:pt x="413537" y="834338"/>
                  <a:pt x="413537" y="775746"/>
                </a:cubicBezTo>
                <a:cubicBezTo>
                  <a:pt x="413537" y="717153"/>
                  <a:pt x="481330" y="696815"/>
                  <a:pt x="481330" y="625149"/>
                </a:cubicBezTo>
                <a:cubicBezTo>
                  <a:pt x="481330" y="564619"/>
                  <a:pt x="430970" y="513774"/>
                  <a:pt x="430970" y="451308"/>
                </a:cubicBezTo>
                <a:cubicBezTo>
                  <a:pt x="430970" y="400463"/>
                  <a:pt x="445497" y="366082"/>
                  <a:pt x="472614" y="332186"/>
                </a:cubicBezTo>
                <a:cubicBezTo>
                  <a:pt x="475035" y="328796"/>
                  <a:pt x="472130" y="325891"/>
                  <a:pt x="468740" y="328312"/>
                </a:cubicBezTo>
                <a:cubicBezTo>
                  <a:pt x="467772" y="328796"/>
                  <a:pt x="467288" y="329765"/>
                  <a:pt x="466319" y="330249"/>
                </a:cubicBezTo>
                <a:cubicBezTo>
                  <a:pt x="428065" y="359787"/>
                  <a:pt x="401432" y="407727"/>
                  <a:pt x="401432" y="460993"/>
                </a:cubicBezTo>
                <a:cubicBezTo>
                  <a:pt x="401432" y="529270"/>
                  <a:pt x="445497" y="563651"/>
                  <a:pt x="445497" y="625633"/>
                </a:cubicBezTo>
                <a:cubicBezTo>
                  <a:pt x="445497" y="687615"/>
                  <a:pt x="374314" y="715701"/>
                  <a:pt x="374314" y="775746"/>
                </a:cubicBezTo>
                <a:cubicBezTo>
                  <a:pt x="374314" y="835791"/>
                  <a:pt x="444529" y="884215"/>
                  <a:pt x="444529" y="939902"/>
                </a:cubicBezTo>
                <a:cubicBezTo>
                  <a:pt x="444529" y="991231"/>
                  <a:pt x="377220" y="1055634"/>
                  <a:pt x="384968" y="1118585"/>
                </a:cubicBezTo>
                <a:cubicBezTo>
                  <a:pt x="371409" y="1113742"/>
                  <a:pt x="358335" y="1108900"/>
                  <a:pt x="345260" y="1103089"/>
                </a:cubicBezTo>
                <a:cubicBezTo>
                  <a:pt x="346229" y="1041107"/>
                  <a:pt x="405790" y="988810"/>
                  <a:pt x="405790" y="936512"/>
                </a:cubicBezTo>
                <a:cubicBezTo>
                  <a:pt x="405790" y="878888"/>
                  <a:pt x="337997" y="831917"/>
                  <a:pt x="337997" y="775746"/>
                </a:cubicBezTo>
                <a:cubicBezTo>
                  <a:pt x="337997" y="719575"/>
                  <a:pt x="410632" y="686646"/>
                  <a:pt x="410632" y="626601"/>
                </a:cubicBezTo>
                <a:cubicBezTo>
                  <a:pt x="410632" y="566556"/>
                  <a:pt x="374314" y="532659"/>
                  <a:pt x="374314" y="471161"/>
                </a:cubicBezTo>
                <a:cubicBezTo>
                  <a:pt x="374314" y="416443"/>
                  <a:pt x="393684" y="380609"/>
                  <a:pt x="426612" y="340902"/>
                </a:cubicBezTo>
                <a:cubicBezTo>
                  <a:pt x="419348" y="344776"/>
                  <a:pt x="413053" y="349134"/>
                  <a:pt x="406758" y="354461"/>
                </a:cubicBezTo>
                <a:cubicBezTo>
                  <a:pt x="371893" y="385452"/>
                  <a:pt x="349134" y="433875"/>
                  <a:pt x="349134" y="481330"/>
                </a:cubicBezTo>
                <a:cubicBezTo>
                  <a:pt x="349134" y="546702"/>
                  <a:pt x="380609" y="575756"/>
                  <a:pt x="380609" y="626601"/>
                </a:cubicBezTo>
                <a:cubicBezTo>
                  <a:pt x="380609" y="677446"/>
                  <a:pt x="306521" y="717638"/>
                  <a:pt x="306521" y="775746"/>
                </a:cubicBezTo>
                <a:cubicBezTo>
                  <a:pt x="306521" y="833854"/>
                  <a:pt x="370925" y="882762"/>
                  <a:pt x="370925" y="932154"/>
                </a:cubicBezTo>
                <a:cubicBezTo>
                  <a:pt x="370925" y="976220"/>
                  <a:pt x="315722" y="1034812"/>
                  <a:pt x="313785" y="1088078"/>
                </a:cubicBezTo>
                <a:cubicBezTo>
                  <a:pt x="302647" y="1082267"/>
                  <a:pt x="291510" y="1076456"/>
                  <a:pt x="280373" y="1069677"/>
                </a:cubicBezTo>
                <a:cubicBezTo>
                  <a:pt x="284731" y="1020769"/>
                  <a:pt x="337028" y="982030"/>
                  <a:pt x="337028" y="933122"/>
                </a:cubicBezTo>
                <a:cubicBezTo>
                  <a:pt x="337028" y="915206"/>
                  <a:pt x="328796" y="900194"/>
                  <a:pt x="321533" y="888089"/>
                </a:cubicBezTo>
                <a:cubicBezTo>
                  <a:pt x="342839" y="955882"/>
                  <a:pt x="263424" y="996073"/>
                  <a:pt x="256161" y="1054181"/>
                </a:cubicBezTo>
                <a:cubicBezTo>
                  <a:pt x="241634" y="1044497"/>
                  <a:pt x="227591" y="1034328"/>
                  <a:pt x="214032" y="1023190"/>
                </a:cubicBezTo>
                <a:cubicBezTo>
                  <a:pt x="220327" y="1012537"/>
                  <a:pt x="230012" y="998979"/>
                  <a:pt x="240665" y="991715"/>
                </a:cubicBezTo>
                <a:cubicBezTo>
                  <a:pt x="235823" y="985420"/>
                  <a:pt x="230496" y="979609"/>
                  <a:pt x="226138" y="972830"/>
                </a:cubicBezTo>
                <a:cubicBezTo>
                  <a:pt x="213064" y="980578"/>
                  <a:pt x="201926" y="995105"/>
                  <a:pt x="194663" y="1006726"/>
                </a:cubicBezTo>
                <a:cubicBezTo>
                  <a:pt x="183041" y="996557"/>
                  <a:pt x="171420" y="985420"/>
                  <a:pt x="160766" y="974283"/>
                </a:cubicBezTo>
                <a:cubicBezTo>
                  <a:pt x="170935" y="961692"/>
                  <a:pt x="184010" y="942323"/>
                  <a:pt x="202895" y="937481"/>
                </a:cubicBezTo>
                <a:cubicBezTo>
                  <a:pt x="198537" y="930217"/>
                  <a:pt x="194179" y="922469"/>
                  <a:pt x="190305" y="914721"/>
                </a:cubicBezTo>
                <a:cubicBezTo>
                  <a:pt x="168030" y="920532"/>
                  <a:pt x="153019" y="941354"/>
                  <a:pt x="141881" y="953945"/>
                </a:cubicBezTo>
                <a:cubicBezTo>
                  <a:pt x="131712" y="942323"/>
                  <a:pt x="122027" y="930701"/>
                  <a:pt x="112827" y="918111"/>
                </a:cubicBezTo>
                <a:cubicBezTo>
                  <a:pt x="129775" y="906974"/>
                  <a:pt x="143334" y="879857"/>
                  <a:pt x="173841" y="878404"/>
                </a:cubicBezTo>
                <a:cubicBezTo>
                  <a:pt x="176262" y="884699"/>
                  <a:pt x="179167" y="890994"/>
                  <a:pt x="181588" y="897289"/>
                </a:cubicBezTo>
                <a:cubicBezTo>
                  <a:pt x="184978" y="904553"/>
                  <a:pt x="189820" y="906974"/>
                  <a:pt x="199021" y="906974"/>
                </a:cubicBezTo>
                <a:cubicBezTo>
                  <a:pt x="227107" y="906974"/>
                  <a:pt x="270688" y="888573"/>
                  <a:pt x="304100" y="855645"/>
                </a:cubicBezTo>
                <a:cubicBezTo>
                  <a:pt x="282310" y="815937"/>
                  <a:pt x="276014" y="796084"/>
                  <a:pt x="276014" y="775262"/>
                </a:cubicBezTo>
                <a:cubicBezTo>
                  <a:pt x="276014" y="722964"/>
                  <a:pt x="350587" y="678899"/>
                  <a:pt x="350587" y="628054"/>
                </a:cubicBezTo>
                <a:cubicBezTo>
                  <a:pt x="350587" y="577209"/>
                  <a:pt x="324922" y="548155"/>
                  <a:pt x="324922" y="492952"/>
                </a:cubicBezTo>
                <a:cubicBezTo>
                  <a:pt x="324922" y="443076"/>
                  <a:pt x="347197" y="400463"/>
                  <a:pt x="376736" y="364145"/>
                </a:cubicBezTo>
                <a:cubicBezTo>
                  <a:pt x="369472" y="368503"/>
                  <a:pt x="363177" y="373830"/>
                  <a:pt x="356882" y="380125"/>
                </a:cubicBezTo>
                <a:cubicBezTo>
                  <a:pt x="324922" y="412085"/>
                  <a:pt x="304100" y="459540"/>
                  <a:pt x="304100" y="502637"/>
                </a:cubicBezTo>
                <a:cubicBezTo>
                  <a:pt x="304100" y="561229"/>
                  <a:pt x="325891" y="584957"/>
                  <a:pt x="325891" y="628538"/>
                </a:cubicBezTo>
                <a:cubicBezTo>
                  <a:pt x="325891" y="668730"/>
                  <a:pt x="241149" y="723933"/>
                  <a:pt x="250834" y="778651"/>
                </a:cubicBezTo>
                <a:cubicBezTo>
                  <a:pt x="221296" y="805768"/>
                  <a:pt x="185947" y="817390"/>
                  <a:pt x="154955" y="817390"/>
                </a:cubicBezTo>
                <a:cubicBezTo>
                  <a:pt x="157861" y="828528"/>
                  <a:pt x="160766" y="839665"/>
                  <a:pt x="164156" y="850802"/>
                </a:cubicBezTo>
                <a:cubicBezTo>
                  <a:pt x="129291" y="852739"/>
                  <a:pt x="113311" y="882278"/>
                  <a:pt x="95394" y="891962"/>
                </a:cubicBezTo>
                <a:cubicBezTo>
                  <a:pt x="86194" y="878404"/>
                  <a:pt x="77962" y="864361"/>
                  <a:pt x="70214" y="849834"/>
                </a:cubicBezTo>
                <a:cubicBezTo>
                  <a:pt x="101205" y="846444"/>
                  <a:pt x="110406" y="806737"/>
                  <a:pt x="153503" y="810127"/>
                </a:cubicBezTo>
                <a:cubicBezTo>
                  <a:pt x="151082" y="799473"/>
                  <a:pt x="149145" y="788820"/>
                  <a:pt x="147692" y="778167"/>
                </a:cubicBezTo>
                <a:cubicBezTo>
                  <a:pt x="97816" y="774777"/>
                  <a:pt x="86678" y="816906"/>
                  <a:pt x="54234" y="818359"/>
                </a:cubicBezTo>
                <a:cubicBezTo>
                  <a:pt x="47455" y="803347"/>
                  <a:pt x="41160" y="788336"/>
                  <a:pt x="35349" y="772840"/>
                </a:cubicBezTo>
                <a:cubicBezTo>
                  <a:pt x="80867" y="774777"/>
                  <a:pt x="96363" y="730712"/>
                  <a:pt x="143818" y="731196"/>
                </a:cubicBezTo>
                <a:cubicBezTo>
                  <a:pt x="143818" y="726838"/>
                  <a:pt x="143818" y="722480"/>
                  <a:pt x="143818" y="717638"/>
                </a:cubicBezTo>
                <a:cubicBezTo>
                  <a:pt x="143818" y="709406"/>
                  <a:pt x="144302" y="701658"/>
                  <a:pt x="144302" y="693426"/>
                </a:cubicBezTo>
                <a:cubicBezTo>
                  <a:pt x="88131" y="691973"/>
                  <a:pt x="71183" y="740397"/>
                  <a:pt x="22759" y="735554"/>
                </a:cubicBezTo>
                <a:cubicBezTo>
                  <a:pt x="18401" y="720543"/>
                  <a:pt x="14527" y="705047"/>
                  <a:pt x="11137" y="689068"/>
                </a:cubicBezTo>
                <a:cubicBezTo>
                  <a:pt x="72151" y="696815"/>
                  <a:pt x="94426" y="645002"/>
                  <a:pt x="149629" y="645486"/>
                </a:cubicBezTo>
                <a:cubicBezTo>
                  <a:pt x="152050" y="630959"/>
                  <a:pt x="155440" y="616432"/>
                  <a:pt x="159314" y="602389"/>
                </a:cubicBezTo>
                <a:cubicBezTo>
                  <a:pt x="92489" y="599484"/>
                  <a:pt x="69246" y="657592"/>
                  <a:pt x="4358" y="646939"/>
                </a:cubicBezTo>
                <a:cubicBezTo>
                  <a:pt x="2421" y="633381"/>
                  <a:pt x="1453" y="619822"/>
                  <a:pt x="484" y="606263"/>
                </a:cubicBezTo>
                <a:cubicBezTo>
                  <a:pt x="76025" y="614495"/>
                  <a:pt x="104595" y="552513"/>
                  <a:pt x="173356" y="560261"/>
                </a:cubicBezTo>
                <a:cubicBezTo>
                  <a:pt x="179652" y="543797"/>
                  <a:pt x="187399" y="527817"/>
                  <a:pt x="196116" y="512322"/>
                </a:cubicBezTo>
                <a:cubicBezTo>
                  <a:pt x="109922" y="497310"/>
                  <a:pt x="80383" y="569461"/>
                  <a:pt x="0" y="558324"/>
                </a:cubicBezTo>
                <a:cubicBezTo>
                  <a:pt x="6779" y="248413"/>
                  <a:pt x="261003" y="0"/>
                  <a:pt x="572851" y="0"/>
                </a:cubicBezTo>
                <a:cubicBezTo>
                  <a:pt x="885183" y="0"/>
                  <a:pt x="1138923" y="248413"/>
                  <a:pt x="1147639" y="558808"/>
                </a:cubicBezTo>
                <a:cubicBezTo>
                  <a:pt x="1067256" y="569946"/>
                  <a:pt x="1037718" y="497794"/>
                  <a:pt x="951524" y="512806"/>
                </a:cubicBezTo>
                <a:cubicBezTo>
                  <a:pt x="960240" y="528301"/>
                  <a:pt x="967503" y="544281"/>
                  <a:pt x="974283" y="560745"/>
                </a:cubicBezTo>
                <a:cubicBezTo>
                  <a:pt x="1043044" y="552513"/>
                  <a:pt x="1071130" y="614980"/>
                  <a:pt x="1147155" y="606263"/>
                </a:cubicBezTo>
                <a:moveTo>
                  <a:pt x="325891" y="365114"/>
                </a:moveTo>
                <a:cubicBezTo>
                  <a:pt x="283762" y="347681"/>
                  <a:pt x="232433" y="352039"/>
                  <a:pt x="188368" y="380125"/>
                </a:cubicBezTo>
                <a:cubicBezTo>
                  <a:pt x="181588" y="339449"/>
                  <a:pt x="159314" y="303132"/>
                  <a:pt x="127838" y="281341"/>
                </a:cubicBezTo>
                <a:cubicBezTo>
                  <a:pt x="123480" y="278436"/>
                  <a:pt x="119122" y="281341"/>
                  <a:pt x="119122" y="286183"/>
                </a:cubicBezTo>
                <a:cubicBezTo>
                  <a:pt x="125901" y="372377"/>
                  <a:pt x="75541" y="446950"/>
                  <a:pt x="13559" y="512806"/>
                </a:cubicBezTo>
                <a:cubicBezTo>
                  <a:pt x="77478" y="532175"/>
                  <a:pt x="131712" y="449855"/>
                  <a:pt x="214032" y="478425"/>
                </a:cubicBezTo>
                <a:cubicBezTo>
                  <a:pt x="244539" y="434360"/>
                  <a:pt x="282310" y="395621"/>
                  <a:pt x="325891" y="365114"/>
                </a:cubicBezTo>
                <a:moveTo>
                  <a:pt x="572851" y="313301"/>
                </a:moveTo>
                <a:cubicBezTo>
                  <a:pt x="519585" y="313301"/>
                  <a:pt x="474551" y="343323"/>
                  <a:pt x="462930" y="382546"/>
                </a:cubicBezTo>
                <a:cubicBezTo>
                  <a:pt x="461961" y="385452"/>
                  <a:pt x="463414" y="387389"/>
                  <a:pt x="466803" y="385936"/>
                </a:cubicBezTo>
                <a:cubicBezTo>
                  <a:pt x="476488" y="381578"/>
                  <a:pt x="487141" y="379641"/>
                  <a:pt x="499247" y="379641"/>
                </a:cubicBezTo>
                <a:cubicBezTo>
                  <a:pt x="521038" y="379641"/>
                  <a:pt x="540407" y="387873"/>
                  <a:pt x="551545" y="401432"/>
                </a:cubicBezTo>
                <a:cubicBezTo>
                  <a:pt x="556387" y="417896"/>
                  <a:pt x="556871" y="442107"/>
                  <a:pt x="551060" y="455666"/>
                </a:cubicBezTo>
                <a:cubicBezTo>
                  <a:pt x="542344" y="453729"/>
                  <a:pt x="538955" y="446950"/>
                  <a:pt x="530238" y="446950"/>
                </a:cubicBezTo>
                <a:cubicBezTo>
                  <a:pt x="521522" y="446950"/>
                  <a:pt x="514743" y="453245"/>
                  <a:pt x="499731" y="453245"/>
                </a:cubicBezTo>
                <a:cubicBezTo>
                  <a:pt x="484720" y="453245"/>
                  <a:pt x="483267" y="445981"/>
                  <a:pt x="473583" y="445981"/>
                </a:cubicBezTo>
                <a:cubicBezTo>
                  <a:pt x="461961" y="445981"/>
                  <a:pt x="460024" y="457603"/>
                  <a:pt x="460024" y="471161"/>
                </a:cubicBezTo>
                <a:cubicBezTo>
                  <a:pt x="460024" y="530722"/>
                  <a:pt x="514743" y="612558"/>
                  <a:pt x="572851" y="612558"/>
                </a:cubicBezTo>
                <a:cubicBezTo>
                  <a:pt x="630959" y="612558"/>
                  <a:pt x="685678" y="530722"/>
                  <a:pt x="685678" y="471161"/>
                </a:cubicBezTo>
                <a:cubicBezTo>
                  <a:pt x="685678" y="457603"/>
                  <a:pt x="682773" y="446465"/>
                  <a:pt x="671151" y="445013"/>
                </a:cubicBezTo>
                <a:cubicBezTo>
                  <a:pt x="665340" y="449371"/>
                  <a:pt x="659529" y="453245"/>
                  <a:pt x="645971" y="453245"/>
                </a:cubicBezTo>
                <a:cubicBezTo>
                  <a:pt x="630959" y="453245"/>
                  <a:pt x="627085" y="446950"/>
                  <a:pt x="618369" y="446950"/>
                </a:cubicBezTo>
                <a:cubicBezTo>
                  <a:pt x="607716" y="446950"/>
                  <a:pt x="608685" y="469225"/>
                  <a:pt x="596094" y="470677"/>
                </a:cubicBezTo>
                <a:cubicBezTo>
                  <a:pt x="587862" y="450824"/>
                  <a:pt x="587378" y="424675"/>
                  <a:pt x="594157" y="401916"/>
                </a:cubicBezTo>
                <a:cubicBezTo>
                  <a:pt x="605295" y="387873"/>
                  <a:pt x="624664" y="380125"/>
                  <a:pt x="646455" y="380125"/>
                </a:cubicBezTo>
                <a:cubicBezTo>
                  <a:pt x="658077" y="380125"/>
                  <a:pt x="669214" y="382062"/>
                  <a:pt x="678899" y="386420"/>
                </a:cubicBezTo>
                <a:cubicBezTo>
                  <a:pt x="682288" y="387873"/>
                  <a:pt x="683741" y="385936"/>
                  <a:pt x="682773" y="383031"/>
                </a:cubicBezTo>
                <a:cubicBezTo>
                  <a:pt x="671151" y="343323"/>
                  <a:pt x="626117" y="313301"/>
                  <a:pt x="572851" y="313301"/>
                </a:cubicBezTo>
                <a:moveTo>
                  <a:pt x="658077" y="398526"/>
                </a:moveTo>
                <a:cubicBezTo>
                  <a:pt x="645002" y="398526"/>
                  <a:pt x="630475" y="402400"/>
                  <a:pt x="620790" y="413053"/>
                </a:cubicBezTo>
                <a:cubicBezTo>
                  <a:pt x="619822" y="415959"/>
                  <a:pt x="619822" y="420317"/>
                  <a:pt x="621275" y="422738"/>
                </a:cubicBezTo>
                <a:cubicBezTo>
                  <a:pt x="644518" y="414990"/>
                  <a:pt x="664856" y="414506"/>
                  <a:pt x="675025" y="425643"/>
                </a:cubicBezTo>
                <a:cubicBezTo>
                  <a:pt x="680351" y="420801"/>
                  <a:pt x="681804" y="416443"/>
                  <a:pt x="681804" y="411600"/>
                </a:cubicBezTo>
                <a:cubicBezTo>
                  <a:pt x="681804" y="403853"/>
                  <a:pt x="673572" y="398526"/>
                  <a:pt x="658077" y="398526"/>
                </a:cubicBezTo>
                <a:moveTo>
                  <a:pt x="471162" y="425643"/>
                </a:moveTo>
                <a:cubicBezTo>
                  <a:pt x="482299" y="414506"/>
                  <a:pt x="506027" y="414990"/>
                  <a:pt x="530238" y="423706"/>
                </a:cubicBezTo>
                <a:cubicBezTo>
                  <a:pt x="531207" y="411600"/>
                  <a:pt x="509416" y="398042"/>
                  <a:pt x="487626" y="398042"/>
                </a:cubicBezTo>
                <a:cubicBezTo>
                  <a:pt x="471646" y="398042"/>
                  <a:pt x="463898" y="403368"/>
                  <a:pt x="463898" y="411116"/>
                </a:cubicBezTo>
                <a:cubicBezTo>
                  <a:pt x="464382" y="416443"/>
                  <a:pt x="465835" y="420801"/>
                  <a:pt x="471162" y="425643"/>
                </a:cubicBezTo>
                <a:moveTo>
                  <a:pt x="839181" y="224201"/>
                </a:moveTo>
                <a:cubicBezTo>
                  <a:pt x="797052" y="227107"/>
                  <a:pt x="760250" y="241634"/>
                  <a:pt x="730712" y="265845"/>
                </a:cubicBezTo>
                <a:cubicBezTo>
                  <a:pt x="743302" y="230012"/>
                  <a:pt x="759282" y="199021"/>
                  <a:pt x="779620" y="168998"/>
                </a:cubicBezTo>
                <a:cubicBezTo>
                  <a:pt x="725870" y="174809"/>
                  <a:pt x="681320" y="194179"/>
                  <a:pt x="648392" y="228075"/>
                </a:cubicBezTo>
                <a:lnTo>
                  <a:pt x="622727" y="160766"/>
                </a:lnTo>
                <a:lnTo>
                  <a:pt x="679383" y="110406"/>
                </a:lnTo>
                <a:lnTo>
                  <a:pt x="603358" y="105079"/>
                </a:lnTo>
                <a:lnTo>
                  <a:pt x="572851" y="34381"/>
                </a:lnTo>
                <a:lnTo>
                  <a:pt x="542344" y="105079"/>
                </a:lnTo>
                <a:lnTo>
                  <a:pt x="466319" y="110406"/>
                </a:lnTo>
                <a:lnTo>
                  <a:pt x="522975" y="160766"/>
                </a:lnTo>
                <a:lnTo>
                  <a:pt x="497310" y="228075"/>
                </a:lnTo>
                <a:cubicBezTo>
                  <a:pt x="464382" y="194663"/>
                  <a:pt x="419833" y="174809"/>
                  <a:pt x="366082" y="168998"/>
                </a:cubicBezTo>
                <a:cubicBezTo>
                  <a:pt x="386420" y="199021"/>
                  <a:pt x="402400" y="230496"/>
                  <a:pt x="414990" y="265845"/>
                </a:cubicBezTo>
                <a:cubicBezTo>
                  <a:pt x="385452" y="241634"/>
                  <a:pt x="348650" y="227107"/>
                  <a:pt x="306521" y="224201"/>
                </a:cubicBezTo>
                <a:cubicBezTo>
                  <a:pt x="331702" y="256645"/>
                  <a:pt x="353976" y="291510"/>
                  <a:pt x="370925" y="328796"/>
                </a:cubicBezTo>
                <a:cubicBezTo>
                  <a:pt x="372862" y="333154"/>
                  <a:pt x="376736" y="334607"/>
                  <a:pt x="381094" y="332186"/>
                </a:cubicBezTo>
                <a:cubicBezTo>
                  <a:pt x="438718" y="303616"/>
                  <a:pt x="503605" y="287152"/>
                  <a:pt x="572851" y="287152"/>
                </a:cubicBezTo>
                <a:cubicBezTo>
                  <a:pt x="641613" y="287152"/>
                  <a:pt x="706500" y="303132"/>
                  <a:pt x="764608" y="332186"/>
                </a:cubicBezTo>
                <a:cubicBezTo>
                  <a:pt x="768967" y="334607"/>
                  <a:pt x="772840" y="333154"/>
                  <a:pt x="774777" y="328796"/>
                </a:cubicBezTo>
                <a:cubicBezTo>
                  <a:pt x="791241" y="291510"/>
                  <a:pt x="814000" y="256645"/>
                  <a:pt x="839181" y="224201"/>
                </a:cubicBezTo>
                <a:moveTo>
                  <a:pt x="931186" y="478425"/>
                </a:moveTo>
                <a:cubicBezTo>
                  <a:pt x="1013990" y="449855"/>
                  <a:pt x="1068224" y="531691"/>
                  <a:pt x="1132144" y="512806"/>
                </a:cubicBezTo>
                <a:cubicBezTo>
                  <a:pt x="1070161" y="446950"/>
                  <a:pt x="1019801" y="372377"/>
                  <a:pt x="1026580" y="286183"/>
                </a:cubicBezTo>
                <a:cubicBezTo>
                  <a:pt x="1027064" y="281341"/>
                  <a:pt x="1022222" y="278436"/>
                  <a:pt x="1018348" y="281341"/>
                </a:cubicBezTo>
                <a:cubicBezTo>
                  <a:pt x="986873" y="303132"/>
                  <a:pt x="964598" y="339449"/>
                  <a:pt x="957819" y="380125"/>
                </a:cubicBezTo>
                <a:cubicBezTo>
                  <a:pt x="914237" y="352039"/>
                  <a:pt x="862908" y="348166"/>
                  <a:pt x="820296" y="365114"/>
                </a:cubicBezTo>
                <a:cubicBezTo>
                  <a:pt x="863877" y="395621"/>
                  <a:pt x="901163" y="434360"/>
                  <a:pt x="931186" y="478425"/>
                </a:cubicBezTo>
              </a:path>
            </a:pathLst>
          </a:custGeom>
          <a:ln w="482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95742052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10.xml><?xml version="1.0" encoding="utf-8"?>
<a:theme xmlns:a="http://schemas.openxmlformats.org/drawingml/2006/main" name="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3.xml><?xml version="1.0" encoding="utf-8"?>
<a:theme xmlns:a="http://schemas.openxmlformats.org/drawingml/2006/main" name="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4.xml><?xml version="1.0" encoding="utf-8"?>
<a:theme xmlns:a="http://schemas.openxmlformats.org/drawingml/2006/main" name="3_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potx" id="{9D762233-45E0-4F9D-A69E-25217B34C42B}" vid="{945154BB-BD79-4184-8544-D2D8F9776797}"/>
    </a:ext>
  </a:extLst>
</a:theme>
</file>

<file path=ppt/theme/theme5.xml><?xml version="1.0" encoding="utf-8"?>
<a:theme xmlns:a="http://schemas.openxmlformats.org/drawingml/2006/main" name="5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6.xml><?xml version="1.0" encoding="utf-8"?>
<a:theme xmlns:a="http://schemas.openxmlformats.org/drawingml/2006/main" name="1_RP deck">
  <a:themeElements>
    <a:clrScheme name="Custom 10">
      <a:dk1>
        <a:srgbClr val="2C292A"/>
      </a:dk1>
      <a:lt1>
        <a:srgbClr val="F1EFED"/>
      </a:lt1>
      <a:dk2>
        <a:srgbClr val="2C292A"/>
      </a:dk2>
      <a:lt2>
        <a:srgbClr val="FFFFFF"/>
      </a:lt2>
      <a:accent1>
        <a:srgbClr val="D83B01"/>
      </a:accent1>
      <a:accent2>
        <a:srgbClr val="FFC000"/>
      </a:accent2>
      <a:accent3>
        <a:srgbClr val="0078D7"/>
      </a:accent3>
      <a:accent4>
        <a:srgbClr val="2C292A"/>
      </a:accent4>
      <a:accent5>
        <a:srgbClr val="5A5456"/>
      </a:accent5>
      <a:accent6>
        <a:srgbClr val="B2ADAE"/>
      </a:accent6>
      <a:hlink>
        <a:srgbClr val="ED6722"/>
      </a:hlink>
      <a:folHlink>
        <a:srgbClr val="ED672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P deck" id="{8B0D75E4-C5B7-4389-969B-E32F34D7849E}" vid="{C87FA158-8DC0-415A-A00F-F646715921CE}"/>
    </a:ext>
  </a:extLst>
</a:theme>
</file>

<file path=ppt/theme/theme7.xml><?xml version="1.0" encoding="utf-8"?>
<a:theme xmlns:a="http://schemas.openxmlformats.org/drawingml/2006/main" name="3_Microsoft Generic 2019">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Generic 2019" id="{4ABC6BCF-FD7A-46A7-A36A-64BF6F00D603}" vid="{6EC097A1-2104-44F4-B5E9-90B366587111}"/>
    </a:ext>
  </a:extLst>
</a:theme>
</file>

<file path=ppt/theme/theme8.xml><?xml version="1.0" encoding="utf-8"?>
<a:theme xmlns:a="http://schemas.openxmlformats.org/drawingml/2006/main" name="2_FY18 Enterpris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D83B01"/>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8 Enterprise" id="{E72F3315-1010-49DB-9886-4D4C2CF5FD95}" vid="{819BFA2A-E2CF-41B2-903A-3ECB1391740E}"/>
    </a:ext>
  </a:extLst>
</a:theme>
</file>

<file path=ppt/theme/theme9.xml><?xml version="1.0" encoding="utf-8"?>
<a:theme xmlns:a="http://schemas.openxmlformats.org/drawingml/2006/main" name="1_WHITE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 id="{7E7DF4D5-9AE9-4C04-96B9-B29B136EDDF0}" vid="{825144D2-849A-48B7-8806-06D8A383093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ediaServiceKeyPoints xmlns="337a20ca-6550-4df7-8eec-401f7262af24" xsi:nil="true"/>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48F21E4FA2AA943AFEBC6D56D49DB0C" ma:contentTypeVersion="17" ma:contentTypeDescription="Create a new document." ma:contentTypeScope="" ma:versionID="6f04226564502328e157b8541926d355">
  <xsd:schema xmlns:xsd="http://www.w3.org/2001/XMLSchema" xmlns:xs="http://www.w3.org/2001/XMLSchema" xmlns:p="http://schemas.microsoft.com/office/2006/metadata/properties" xmlns:ns1="http://schemas.microsoft.com/sharepoint/v3" xmlns:ns3="337a20ca-6550-4df7-8eec-401f7262af24" xmlns:ns4="1ff48386-bc9e-441d-b20f-d0cf7f6307fd" targetNamespace="http://schemas.microsoft.com/office/2006/metadata/properties" ma:root="true" ma:fieldsID="d8682af39d16502c955e882e342dbf84" ns1:_="" ns3:_="" ns4:_="">
    <xsd:import namespace="http://schemas.microsoft.com/sharepoint/v3"/>
    <xsd:import namespace="337a20ca-6550-4df7-8eec-401f7262af24"/>
    <xsd:import namespace="1ff48386-bc9e-441d-b20f-d0cf7f6307fd"/>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4:SharedWithUsers" minOccurs="0"/>
                <xsd:element ref="ns4:SharedWithDetails" minOccurs="0"/>
                <xsd:element ref="ns4:SharingHintHash" minOccurs="0"/>
                <xsd:element ref="ns4:LastSharedByUser" minOccurs="0"/>
                <xsd:element ref="ns4:LastSharedByTime" minOccurs="0"/>
                <xsd:element ref="ns3:MediaServiceDateTaken" minOccurs="0"/>
                <xsd:element ref="ns3:MediaServiceLocation" minOccurs="0"/>
                <xsd:element ref="ns3:MediaServiceEventHashCode" minOccurs="0"/>
                <xsd:element ref="ns3:MediaServiceGenerationTime" minOccurs="0"/>
                <xsd:element ref="ns1:_ip_UnifiedCompliancePolicyProperties" minOccurs="0"/>
                <xsd:element ref="ns1:_ip_UnifiedCompliancePolicyUIAc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37a20ca-6550-4df7-8eec-401f7262af2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MediaServiceLocation" ma:internalName="MediaServiceLocation"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fals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ff48386-bc9e-441d-b20f-d0cf7f6307f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element name="LastSharedByUser" ma:index="15" nillable="true" ma:displayName="Last Shared By User" ma:hidden="true" ma:internalName="LastSharedByUser" ma:readOnly="true">
      <xsd:simpleType>
        <xsd:restriction base="dms:Note"/>
      </xsd:simpleType>
    </xsd:element>
    <xsd:element name="LastSharedByTime" ma:index="16"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F712927-866B-4D69-AEB0-C5BD85A0CD13}">
  <ds:schemaRefs>
    <ds:schemaRef ds:uri="http://schemas.microsoft.com/sharepoint/v3/contenttype/forms"/>
  </ds:schemaRefs>
</ds:datastoreItem>
</file>

<file path=customXml/itemProps2.xml><?xml version="1.0" encoding="utf-8"?>
<ds:datastoreItem xmlns:ds="http://schemas.openxmlformats.org/officeDocument/2006/customXml" ds:itemID="{CA0FD877-4FFF-4106-9EDA-BE900EA60DC7}">
  <ds:schemaRefs>
    <ds:schemaRef ds:uri="1ff48386-bc9e-441d-b20f-d0cf7f6307fd"/>
    <ds:schemaRef ds:uri="337a20ca-6550-4df7-8eec-401f7262af2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2B78A64-EE3D-40CC-9A62-B37C5A0C7997}">
  <ds:schemaRefs>
    <ds:schemaRef ds:uri="1ff48386-bc9e-441d-b20f-d0cf7f6307fd"/>
    <ds:schemaRef ds:uri="337a20ca-6550-4df7-8eec-401f7262af2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72f988bf-86f1-41af-91ab-2d7cd011db47}" enabled="0" method="" siteId="{72f988bf-86f1-41af-91ab-2d7cd011db47}" removed="1"/>
</clbl:labelList>
</file>

<file path=docProps/app.xml><?xml version="1.0" encoding="utf-8"?>
<Properties xmlns="http://schemas.openxmlformats.org/officeDocument/2006/extended-properties" xmlns:vt="http://schemas.openxmlformats.org/officeDocument/2006/docPropsVTypes">
  <TotalTime>56</TotalTime>
  <Words>1530</Words>
  <Application>Microsoft Office PowerPoint</Application>
  <PresentationFormat>Widescreen</PresentationFormat>
  <Paragraphs>227</Paragraphs>
  <Slides>12</Slides>
  <Notes>12</Notes>
  <HiddenSlides>0</HiddenSlides>
  <MMClips>0</MMClips>
  <ScaleCrop>false</ScaleCrop>
  <HeadingPairs>
    <vt:vector size="8" baseType="variant">
      <vt:variant>
        <vt:lpstr>Fonts Used</vt:lpstr>
      </vt:variant>
      <vt:variant>
        <vt:i4>9</vt:i4>
      </vt:variant>
      <vt:variant>
        <vt:lpstr>Theme</vt:lpstr>
      </vt:variant>
      <vt:variant>
        <vt:i4>10</vt:i4>
      </vt:variant>
      <vt:variant>
        <vt:lpstr>Embedded OLE Servers</vt:lpstr>
      </vt:variant>
      <vt:variant>
        <vt:i4>1</vt:i4>
      </vt:variant>
      <vt:variant>
        <vt:lpstr>Slide Titles</vt:lpstr>
      </vt:variant>
      <vt:variant>
        <vt:i4>12</vt:i4>
      </vt:variant>
    </vt:vector>
  </HeadingPairs>
  <TitlesOfParts>
    <vt:vector size="32" baseType="lpstr">
      <vt:lpstr>Arial</vt:lpstr>
      <vt:lpstr>Calibri</vt:lpstr>
      <vt:lpstr>Consolas</vt:lpstr>
      <vt:lpstr>Segoe Pro Semibold</vt:lpstr>
      <vt:lpstr>Segoe UI</vt:lpstr>
      <vt:lpstr>Segoe UI Light</vt:lpstr>
      <vt:lpstr>Segoe UI Semibold</vt:lpstr>
      <vt:lpstr>Segoe UI Semilight</vt:lpstr>
      <vt:lpstr>Wingdings</vt:lpstr>
      <vt:lpstr>2_Azure PPT Template - 2018</vt:lpstr>
      <vt:lpstr>1_Black Template</vt:lpstr>
      <vt:lpstr>White Template</vt:lpstr>
      <vt:lpstr>3_Black Template</vt:lpstr>
      <vt:lpstr>5_Black Template</vt:lpstr>
      <vt:lpstr>1_RP deck</vt:lpstr>
      <vt:lpstr>3_Microsoft Generic 2019</vt:lpstr>
      <vt:lpstr>2_FY18 Enterprise</vt:lpstr>
      <vt:lpstr>1_WHITE TEMPLATE</vt:lpstr>
      <vt:lpstr>Build 2019 Black</vt:lpstr>
      <vt:lpstr>think-cell Slide</vt:lpstr>
      <vt:lpstr>Data &amp; AI  Hackathon </vt:lpstr>
      <vt:lpstr>PowerPoint Presentation</vt:lpstr>
      <vt:lpstr>PowerPoint Presentation</vt:lpstr>
      <vt:lpstr>PowerPoint Presentation</vt:lpstr>
      <vt:lpstr>PowerPoint Presentation</vt:lpstr>
      <vt:lpstr>PowerPoint Presentation</vt:lpstr>
      <vt:lpstr>Azure AI</vt:lpstr>
      <vt:lpstr>Azure Cognitive Services</vt:lpstr>
      <vt:lpstr>AI Apps &amp; Agent Scenarios</vt:lpstr>
      <vt:lpstr>Robotic Process Automation</vt:lpstr>
      <vt:lpstr>PowerPoint Presentation</vt:lpstr>
      <vt:lpstr>Auditing and complian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The most trusted Global cloud</dc:title>
  <dc:creator>Shashi Bhushan</dc:creator>
  <cp:keywords/>
  <cp:lastModifiedBy>Ashish Talati</cp:lastModifiedBy>
  <cp:revision>7</cp:revision>
  <dcterms:created xsi:type="dcterms:W3CDTF">2020-06-15T01:05:32Z</dcterms:created>
  <dcterms:modified xsi:type="dcterms:W3CDTF">2021-09-14T13:54:34Z</dcterms:modified>
</cp:coreProperties>
</file>